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customXml/itemProps5.xml" ContentType="application/vnd.openxmlformats-officedocument.customXmlPropertie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1" r:id="rId6"/>
  </p:sldMasterIdLst>
  <p:notesMasterIdLst>
    <p:notesMasterId r:id="rId24"/>
  </p:notesMasterIdLst>
  <p:handoutMasterIdLst>
    <p:handoutMasterId r:id="rId25"/>
  </p:handoutMasterIdLst>
  <p:sldIdLst>
    <p:sldId id="1074" r:id="rId7"/>
    <p:sldId id="1106" r:id="rId8"/>
    <p:sldId id="1107" r:id="rId9"/>
    <p:sldId id="1105" r:id="rId10"/>
    <p:sldId id="1111" r:id="rId11"/>
    <p:sldId id="1112" r:id="rId12"/>
    <p:sldId id="1113" r:id="rId13"/>
    <p:sldId id="1114" r:id="rId14"/>
    <p:sldId id="1115" r:id="rId15"/>
    <p:sldId id="1116" r:id="rId16"/>
    <p:sldId id="1117" r:id="rId17"/>
    <p:sldId id="1119" r:id="rId18"/>
    <p:sldId id="1118" r:id="rId19"/>
    <p:sldId id="1120" r:id="rId20"/>
    <p:sldId id="1121" r:id="rId21"/>
    <p:sldId id="1094" r:id="rId22"/>
    <p:sldId id="988" r:id="rId23"/>
  </p:sldIdLst>
  <p:sldSz cx="12198350" cy="6858000"/>
  <p:notesSz cx="7010400" cy="9296400"/>
  <p:custDataLst>
    <p:custData r:id="rId4"/>
    <p:tags r:id="rId2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117">
          <p15:clr>
            <a:srgbClr val="A4A3A4"/>
          </p15:clr>
        </p15:guide>
        <p15:guide id="13" orient="horz" pos="3658">
          <p15:clr>
            <a:srgbClr val="A4A3A4"/>
          </p15:clr>
        </p15:guide>
        <p15:guide id="14" pos="2663">
          <p15:clr>
            <a:srgbClr val="A4A3A4"/>
          </p15:clr>
        </p15:guide>
        <p15:guide id="15" pos="2753">
          <p15:clr>
            <a:srgbClr val="A4A3A4"/>
          </p15:clr>
        </p15:guide>
        <p15:guide id="16" pos="63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dwig, Hartmut (CT US)" initials="LH(U" lastIdx="78" clrIdx="0"/>
  <p:cmAuthor id="1" name="Muenzel, Georg (CT RDA AUC AES-US)" initials="MG(RAA" lastIdx="12" clrIdx="1">
    <p:extLst/>
  </p:cmAuthor>
  <p:cmAuthor id="2" name="Budnik, Christof (CT US)" initials="cjb" lastIdx="3" clrIdx="2"/>
  <p:cmAuthor id="3" name="Florian Ersch" initials="FE" lastIdx="11" clrIdx="3">
    <p:extLst/>
  </p:cmAuthor>
  <p:cmAuthor id="4" name="Oswin Noetzelmann" initials="O.N." lastIdx="1" clrIdx="4"/>
  <p:cmAuthor id="5" name="Michele Blank" initials="MB" lastIdx="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646E"/>
    <a:srgbClr val="848B9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4" autoAdjust="0"/>
    <p:restoredTop sz="86007" autoAdjust="0"/>
  </p:normalViewPr>
  <p:slideViewPr>
    <p:cSldViewPr snapToGrid="0" showGuides="1">
      <p:cViewPr varScale="1">
        <p:scale>
          <a:sx n="67" d="100"/>
          <a:sy n="67" d="100"/>
        </p:scale>
        <p:origin x="-558" y="-10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1117"/>
        <p:guide orient="horz" pos="3658"/>
        <p:guide pos="395"/>
        <p:guide pos="3842"/>
        <p:guide pos="3933"/>
        <p:guide pos="7380"/>
        <p:guide pos="5566"/>
        <p:guide pos="2663"/>
        <p:guide pos="2753"/>
        <p:guide pos="6382"/>
      </p:guideLst>
    </p:cSldViewPr>
  </p:slideViewPr>
  <p:outlineViewPr>
    <p:cViewPr>
      <p:scale>
        <a:sx n="33" d="100"/>
        <a:sy n="33" d="100"/>
      </p:scale>
      <p:origin x="0" y="-14645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-3096" y="-96"/>
      </p:cViewPr>
      <p:guideLst>
        <p:guide orient="horz" pos="3224"/>
        <p:guide orient="horz" pos="2928"/>
        <p:guide pos="2236"/>
        <p:guide pos="2208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8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56D1ED-B583-4DB5-AD85-BAB7C4FD6DB8}" type="doc">
      <dgm:prSet loTypeId="urn:microsoft.com/office/officeart/2005/8/layout/orgChart1" loCatId="hierarchy" qsTypeId="urn:microsoft.com/office/officeart/2005/8/quickstyle/simple1" qsCatId="simple" csTypeId="urn:microsoft.com/office/officeart/2005/8/colors/accent5_4" csCatId="accent5" phldr="1"/>
      <dgm:spPr/>
      <dgm:t>
        <a:bodyPr/>
        <a:lstStyle/>
        <a:p>
          <a:endParaRPr lang="de-DE"/>
        </a:p>
      </dgm:t>
    </dgm:pt>
    <dgm:pt modelId="{B439842B-CC31-45AB-A2B9-8064A59BA4A1}">
      <dgm:prSet phldrT="[Text]"/>
      <dgm:spPr>
        <a:solidFill>
          <a:srgbClr val="004669"/>
        </a:solidFill>
      </dgm:spPr>
      <dgm:t>
        <a:bodyPr/>
        <a:lstStyle/>
        <a:p>
          <a:r>
            <a:rPr lang="de-DE" dirty="0" smtClean="0"/>
            <a:t>TD</a:t>
          </a:r>
          <a:endParaRPr lang="de-DE" dirty="0"/>
        </a:p>
      </dgm:t>
    </dgm:pt>
    <dgm:pt modelId="{E8454968-8FFB-4E56-BADD-30BE19532A35}" type="parTrans" cxnId="{9173057A-D6D1-4579-9524-1D9290B8868F}">
      <dgm:prSet/>
      <dgm:spPr/>
      <dgm:t>
        <a:bodyPr/>
        <a:lstStyle/>
        <a:p>
          <a:endParaRPr lang="de-DE"/>
        </a:p>
      </dgm:t>
    </dgm:pt>
    <dgm:pt modelId="{DB972D6C-DF50-4182-9810-FE08FDF56D28}" type="sibTrans" cxnId="{9173057A-D6D1-4579-9524-1D9290B8868F}">
      <dgm:prSet/>
      <dgm:spPr/>
      <dgm:t>
        <a:bodyPr/>
        <a:lstStyle/>
        <a:p>
          <a:endParaRPr lang="de-DE"/>
        </a:p>
      </dgm:t>
    </dgm:pt>
    <dgm:pt modelId="{0AF5A239-ABCC-4B7C-842D-BC06817C9DC5}" type="asst">
      <dgm:prSet phldrT="[Text]"/>
      <dgm:spPr>
        <a:solidFill>
          <a:srgbClr val="004669"/>
        </a:solidFill>
      </dgm:spPr>
      <dgm:t>
        <a:bodyPr/>
        <a:lstStyle/>
        <a:p>
          <a:r>
            <a:rPr lang="de-DE" dirty="0" err="1" smtClean="0"/>
            <a:t>Metadata</a:t>
          </a:r>
          <a:endParaRPr lang="de-DE" dirty="0"/>
        </a:p>
      </dgm:t>
    </dgm:pt>
    <dgm:pt modelId="{BA691F9A-8F35-40FA-88CD-625CE40CB797}" type="parTrans" cxnId="{EE22382E-8C30-4E6D-A238-2877921E6889}">
      <dgm:prSet/>
      <dgm:spPr/>
      <dgm:t>
        <a:bodyPr/>
        <a:lstStyle/>
        <a:p>
          <a:endParaRPr lang="de-DE"/>
        </a:p>
      </dgm:t>
    </dgm:pt>
    <dgm:pt modelId="{D0FE8A14-A378-4B98-AC72-938A564957A9}" type="sibTrans" cxnId="{EE22382E-8C30-4E6D-A238-2877921E6889}">
      <dgm:prSet/>
      <dgm:spPr/>
      <dgm:t>
        <a:bodyPr/>
        <a:lstStyle/>
        <a:p>
          <a:endParaRPr lang="de-DE"/>
        </a:p>
      </dgm:t>
    </dgm:pt>
    <dgm:pt modelId="{2B2962F2-32A2-40EF-B512-95BB0FD7FFF6}">
      <dgm:prSet phldrT="[Text]"/>
      <dgm:spPr>
        <a:solidFill>
          <a:srgbClr val="004669"/>
        </a:solidFill>
      </dgm:spPr>
      <dgm:t>
        <a:bodyPr/>
        <a:lstStyle/>
        <a:p>
          <a:r>
            <a:rPr lang="de-DE" dirty="0" smtClean="0"/>
            <a:t>Properties</a:t>
          </a:r>
          <a:endParaRPr lang="de-DE" dirty="0"/>
        </a:p>
      </dgm:t>
    </dgm:pt>
    <dgm:pt modelId="{6E87E788-C070-4BD2-8E8D-707601533412}" type="parTrans" cxnId="{EB8416CA-4C12-40A2-866D-6A28AEEC9824}">
      <dgm:prSet/>
      <dgm:spPr/>
      <dgm:t>
        <a:bodyPr/>
        <a:lstStyle/>
        <a:p>
          <a:endParaRPr lang="de-DE"/>
        </a:p>
      </dgm:t>
    </dgm:pt>
    <dgm:pt modelId="{B21878A4-D01A-4DF5-8274-53A72EC32C6E}" type="sibTrans" cxnId="{EB8416CA-4C12-40A2-866D-6A28AEEC9824}">
      <dgm:prSet/>
      <dgm:spPr/>
      <dgm:t>
        <a:bodyPr/>
        <a:lstStyle/>
        <a:p>
          <a:endParaRPr lang="de-DE"/>
        </a:p>
      </dgm:t>
    </dgm:pt>
    <dgm:pt modelId="{5610A543-FA73-4B93-8F80-DEEF44FC5BC0}">
      <dgm:prSet phldrT="[Text]"/>
      <dgm:spPr>
        <a:solidFill>
          <a:srgbClr val="004669"/>
        </a:solidFill>
      </dgm:spPr>
      <dgm:t>
        <a:bodyPr/>
        <a:lstStyle/>
        <a:p>
          <a:r>
            <a:rPr lang="de-DE" dirty="0" smtClean="0"/>
            <a:t>Actions</a:t>
          </a:r>
          <a:endParaRPr lang="de-DE" dirty="0"/>
        </a:p>
      </dgm:t>
    </dgm:pt>
    <dgm:pt modelId="{19C370EE-2EFD-43DC-AC8A-3A201738B758}" type="parTrans" cxnId="{5EA120E6-3502-433B-97F5-994A00C940CF}">
      <dgm:prSet/>
      <dgm:spPr/>
      <dgm:t>
        <a:bodyPr/>
        <a:lstStyle/>
        <a:p>
          <a:endParaRPr lang="de-DE"/>
        </a:p>
      </dgm:t>
    </dgm:pt>
    <dgm:pt modelId="{C337DB43-9BA2-47BC-B17D-85530E7F316B}" type="sibTrans" cxnId="{5EA120E6-3502-433B-97F5-994A00C940CF}">
      <dgm:prSet/>
      <dgm:spPr/>
      <dgm:t>
        <a:bodyPr/>
        <a:lstStyle/>
        <a:p>
          <a:endParaRPr lang="de-DE"/>
        </a:p>
      </dgm:t>
    </dgm:pt>
    <dgm:pt modelId="{348F2C4A-8E6B-499A-A02D-E2162787CD79}">
      <dgm:prSet phldrT="[Text]"/>
      <dgm:spPr>
        <a:solidFill>
          <a:srgbClr val="004669"/>
        </a:solidFill>
      </dgm:spPr>
      <dgm:t>
        <a:bodyPr/>
        <a:lstStyle/>
        <a:p>
          <a:r>
            <a:rPr lang="de-DE" dirty="0" smtClean="0"/>
            <a:t>Events</a:t>
          </a:r>
          <a:endParaRPr lang="de-DE" dirty="0"/>
        </a:p>
      </dgm:t>
    </dgm:pt>
    <dgm:pt modelId="{2FF66986-1EFB-4D57-BBBD-EE73E445A0DD}" type="parTrans" cxnId="{B212790C-614B-4B3B-995E-8E4B86DFC1EA}">
      <dgm:prSet/>
      <dgm:spPr/>
      <dgm:t>
        <a:bodyPr/>
        <a:lstStyle/>
        <a:p>
          <a:endParaRPr lang="de-DE"/>
        </a:p>
      </dgm:t>
    </dgm:pt>
    <dgm:pt modelId="{10B9B24D-2DDF-4D69-A3F2-E1DF7B981681}" type="sibTrans" cxnId="{B212790C-614B-4B3B-995E-8E4B86DFC1EA}">
      <dgm:prSet/>
      <dgm:spPr/>
      <dgm:t>
        <a:bodyPr/>
        <a:lstStyle/>
        <a:p>
          <a:endParaRPr lang="de-DE"/>
        </a:p>
      </dgm:t>
    </dgm:pt>
    <dgm:pt modelId="{0802F2CC-9161-4772-8A5A-4030C20FDD76}" type="pres">
      <dgm:prSet presAssocID="{0756D1ED-B583-4DB5-AD85-BAB7C4FD6DB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9408E9D6-EDE9-40A2-8F19-51C22196994E}" type="pres">
      <dgm:prSet presAssocID="{B439842B-CC31-45AB-A2B9-8064A59BA4A1}" presName="hierRoot1" presStyleCnt="0">
        <dgm:presLayoutVars>
          <dgm:hierBranch val="init"/>
        </dgm:presLayoutVars>
      </dgm:prSet>
      <dgm:spPr/>
    </dgm:pt>
    <dgm:pt modelId="{58604147-2A61-40CB-AE6C-AE36C73106DA}" type="pres">
      <dgm:prSet presAssocID="{B439842B-CC31-45AB-A2B9-8064A59BA4A1}" presName="rootComposite1" presStyleCnt="0"/>
      <dgm:spPr/>
    </dgm:pt>
    <dgm:pt modelId="{41E35235-443A-49AF-B5AF-8A7DA6A07908}" type="pres">
      <dgm:prSet presAssocID="{B439842B-CC31-45AB-A2B9-8064A59BA4A1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811A9BF-F3A3-4A4A-B380-57F62759532D}" type="pres">
      <dgm:prSet presAssocID="{B439842B-CC31-45AB-A2B9-8064A59BA4A1}" presName="rootConnector1" presStyleLbl="node1" presStyleIdx="0" presStyleCnt="0"/>
      <dgm:spPr/>
      <dgm:t>
        <a:bodyPr/>
        <a:lstStyle/>
        <a:p>
          <a:endParaRPr lang="de-DE"/>
        </a:p>
      </dgm:t>
    </dgm:pt>
    <dgm:pt modelId="{B6C46061-291D-4AB9-B1A5-0F4A1C7D3A46}" type="pres">
      <dgm:prSet presAssocID="{B439842B-CC31-45AB-A2B9-8064A59BA4A1}" presName="hierChild2" presStyleCnt="0"/>
      <dgm:spPr/>
    </dgm:pt>
    <dgm:pt modelId="{D6F26AB7-95B7-4B08-8199-97F2805F6DB0}" type="pres">
      <dgm:prSet presAssocID="{6E87E788-C070-4BD2-8E8D-707601533412}" presName="Name37" presStyleLbl="parChTrans1D2" presStyleIdx="0" presStyleCnt="4"/>
      <dgm:spPr/>
      <dgm:t>
        <a:bodyPr/>
        <a:lstStyle/>
        <a:p>
          <a:endParaRPr lang="de-DE"/>
        </a:p>
      </dgm:t>
    </dgm:pt>
    <dgm:pt modelId="{13B9C17F-B8C5-4033-AEF5-9CD6B191435B}" type="pres">
      <dgm:prSet presAssocID="{2B2962F2-32A2-40EF-B512-95BB0FD7FFF6}" presName="hierRoot2" presStyleCnt="0">
        <dgm:presLayoutVars>
          <dgm:hierBranch val="init"/>
        </dgm:presLayoutVars>
      </dgm:prSet>
      <dgm:spPr/>
    </dgm:pt>
    <dgm:pt modelId="{F9E4DE7F-0456-448B-B8EF-68FB6BAAA35C}" type="pres">
      <dgm:prSet presAssocID="{2B2962F2-32A2-40EF-B512-95BB0FD7FFF6}" presName="rootComposite" presStyleCnt="0"/>
      <dgm:spPr/>
    </dgm:pt>
    <dgm:pt modelId="{6279F4DF-CD5F-43C4-B524-29602798457F}" type="pres">
      <dgm:prSet presAssocID="{2B2962F2-32A2-40EF-B512-95BB0FD7FFF6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DD72687-DF55-433C-8B79-9DDAE0202134}" type="pres">
      <dgm:prSet presAssocID="{2B2962F2-32A2-40EF-B512-95BB0FD7FFF6}" presName="rootConnector" presStyleLbl="node2" presStyleIdx="0" presStyleCnt="3"/>
      <dgm:spPr/>
      <dgm:t>
        <a:bodyPr/>
        <a:lstStyle/>
        <a:p>
          <a:endParaRPr lang="de-DE"/>
        </a:p>
      </dgm:t>
    </dgm:pt>
    <dgm:pt modelId="{35F279AF-2DC1-46F6-BAAB-AEA2F8F8D728}" type="pres">
      <dgm:prSet presAssocID="{2B2962F2-32A2-40EF-B512-95BB0FD7FFF6}" presName="hierChild4" presStyleCnt="0"/>
      <dgm:spPr/>
    </dgm:pt>
    <dgm:pt modelId="{57FB9426-4FB6-4DB3-B6CF-E50221912A84}" type="pres">
      <dgm:prSet presAssocID="{2B2962F2-32A2-40EF-B512-95BB0FD7FFF6}" presName="hierChild5" presStyleCnt="0"/>
      <dgm:spPr/>
    </dgm:pt>
    <dgm:pt modelId="{494E9CAE-3A0A-4B1C-B55B-02DD4A91C441}" type="pres">
      <dgm:prSet presAssocID="{19C370EE-2EFD-43DC-AC8A-3A201738B758}" presName="Name37" presStyleLbl="parChTrans1D2" presStyleIdx="1" presStyleCnt="4"/>
      <dgm:spPr/>
      <dgm:t>
        <a:bodyPr/>
        <a:lstStyle/>
        <a:p>
          <a:endParaRPr lang="de-DE"/>
        </a:p>
      </dgm:t>
    </dgm:pt>
    <dgm:pt modelId="{CACF37A5-904D-4CAA-BE4E-CA6B27EBA706}" type="pres">
      <dgm:prSet presAssocID="{5610A543-FA73-4B93-8F80-DEEF44FC5BC0}" presName="hierRoot2" presStyleCnt="0">
        <dgm:presLayoutVars>
          <dgm:hierBranch val="init"/>
        </dgm:presLayoutVars>
      </dgm:prSet>
      <dgm:spPr/>
    </dgm:pt>
    <dgm:pt modelId="{FCA9BEEA-6DE3-488F-8A2F-14E5A5A314EA}" type="pres">
      <dgm:prSet presAssocID="{5610A543-FA73-4B93-8F80-DEEF44FC5BC0}" presName="rootComposite" presStyleCnt="0"/>
      <dgm:spPr/>
    </dgm:pt>
    <dgm:pt modelId="{29FB3FFF-2026-4B23-BCFD-2669F9CD2730}" type="pres">
      <dgm:prSet presAssocID="{5610A543-FA73-4B93-8F80-DEEF44FC5BC0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EDE22E64-995B-467C-BE4B-7B3A9DEB9A8B}" type="pres">
      <dgm:prSet presAssocID="{5610A543-FA73-4B93-8F80-DEEF44FC5BC0}" presName="rootConnector" presStyleLbl="node2" presStyleIdx="1" presStyleCnt="3"/>
      <dgm:spPr/>
      <dgm:t>
        <a:bodyPr/>
        <a:lstStyle/>
        <a:p>
          <a:endParaRPr lang="de-DE"/>
        </a:p>
      </dgm:t>
    </dgm:pt>
    <dgm:pt modelId="{CC68B8AC-399C-417A-8A3B-C276F6314DBA}" type="pres">
      <dgm:prSet presAssocID="{5610A543-FA73-4B93-8F80-DEEF44FC5BC0}" presName="hierChild4" presStyleCnt="0"/>
      <dgm:spPr/>
    </dgm:pt>
    <dgm:pt modelId="{A90BD519-D017-4301-85D4-38952A653F32}" type="pres">
      <dgm:prSet presAssocID="{5610A543-FA73-4B93-8F80-DEEF44FC5BC0}" presName="hierChild5" presStyleCnt="0"/>
      <dgm:spPr/>
    </dgm:pt>
    <dgm:pt modelId="{8C3344FE-39D9-47EE-8A31-DE62129F6209}" type="pres">
      <dgm:prSet presAssocID="{2FF66986-1EFB-4D57-BBBD-EE73E445A0DD}" presName="Name37" presStyleLbl="parChTrans1D2" presStyleIdx="2" presStyleCnt="4"/>
      <dgm:spPr/>
      <dgm:t>
        <a:bodyPr/>
        <a:lstStyle/>
        <a:p>
          <a:endParaRPr lang="de-DE"/>
        </a:p>
      </dgm:t>
    </dgm:pt>
    <dgm:pt modelId="{FC964A30-2B05-4574-A73C-70D6DC3666C7}" type="pres">
      <dgm:prSet presAssocID="{348F2C4A-8E6B-499A-A02D-E2162787CD79}" presName="hierRoot2" presStyleCnt="0">
        <dgm:presLayoutVars>
          <dgm:hierBranch val="init"/>
        </dgm:presLayoutVars>
      </dgm:prSet>
      <dgm:spPr/>
    </dgm:pt>
    <dgm:pt modelId="{9DA7DF46-7295-45B2-9464-6AC28A1B884E}" type="pres">
      <dgm:prSet presAssocID="{348F2C4A-8E6B-499A-A02D-E2162787CD79}" presName="rootComposite" presStyleCnt="0"/>
      <dgm:spPr/>
    </dgm:pt>
    <dgm:pt modelId="{8B515D25-BD7F-41D6-AD56-2BC6C91663BB}" type="pres">
      <dgm:prSet presAssocID="{348F2C4A-8E6B-499A-A02D-E2162787CD7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5F26856-D1C7-41D0-BDE5-5FADACE14A24}" type="pres">
      <dgm:prSet presAssocID="{348F2C4A-8E6B-499A-A02D-E2162787CD79}" presName="rootConnector" presStyleLbl="node2" presStyleIdx="2" presStyleCnt="3"/>
      <dgm:spPr/>
      <dgm:t>
        <a:bodyPr/>
        <a:lstStyle/>
        <a:p>
          <a:endParaRPr lang="de-DE"/>
        </a:p>
      </dgm:t>
    </dgm:pt>
    <dgm:pt modelId="{9D3830F4-0E79-4927-A397-B42F51B387FE}" type="pres">
      <dgm:prSet presAssocID="{348F2C4A-8E6B-499A-A02D-E2162787CD79}" presName="hierChild4" presStyleCnt="0"/>
      <dgm:spPr/>
    </dgm:pt>
    <dgm:pt modelId="{E1884C39-C653-4411-AE04-8CC2B1A6D360}" type="pres">
      <dgm:prSet presAssocID="{348F2C4A-8E6B-499A-A02D-E2162787CD79}" presName="hierChild5" presStyleCnt="0"/>
      <dgm:spPr/>
    </dgm:pt>
    <dgm:pt modelId="{AA743789-8BCB-4D3A-8226-D57A6C9BDA7D}" type="pres">
      <dgm:prSet presAssocID="{B439842B-CC31-45AB-A2B9-8064A59BA4A1}" presName="hierChild3" presStyleCnt="0"/>
      <dgm:spPr/>
    </dgm:pt>
    <dgm:pt modelId="{67EE4ED7-8840-4658-9EFD-C58E0C758561}" type="pres">
      <dgm:prSet presAssocID="{BA691F9A-8F35-40FA-88CD-625CE40CB797}" presName="Name111" presStyleLbl="parChTrans1D2" presStyleIdx="3" presStyleCnt="4"/>
      <dgm:spPr/>
      <dgm:t>
        <a:bodyPr/>
        <a:lstStyle/>
        <a:p>
          <a:endParaRPr lang="de-DE"/>
        </a:p>
      </dgm:t>
    </dgm:pt>
    <dgm:pt modelId="{F9B49148-6B08-4043-9277-D42D1692663B}" type="pres">
      <dgm:prSet presAssocID="{0AF5A239-ABCC-4B7C-842D-BC06817C9DC5}" presName="hierRoot3" presStyleCnt="0">
        <dgm:presLayoutVars>
          <dgm:hierBranch val="init"/>
        </dgm:presLayoutVars>
      </dgm:prSet>
      <dgm:spPr/>
    </dgm:pt>
    <dgm:pt modelId="{CE710974-5BF6-438B-BF49-9E33DBC6A33F}" type="pres">
      <dgm:prSet presAssocID="{0AF5A239-ABCC-4B7C-842D-BC06817C9DC5}" presName="rootComposite3" presStyleCnt="0"/>
      <dgm:spPr/>
    </dgm:pt>
    <dgm:pt modelId="{5AA9ABD5-F42E-4527-8885-1897BF57B8F9}" type="pres">
      <dgm:prSet presAssocID="{0AF5A239-ABCC-4B7C-842D-BC06817C9DC5}" presName="rootText3" presStyleLbl="asst1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7A3CAEC-4D4B-420E-9B26-08FDC7C14B27}" type="pres">
      <dgm:prSet presAssocID="{0AF5A239-ABCC-4B7C-842D-BC06817C9DC5}" presName="rootConnector3" presStyleLbl="asst1" presStyleIdx="0" presStyleCnt="1"/>
      <dgm:spPr/>
      <dgm:t>
        <a:bodyPr/>
        <a:lstStyle/>
        <a:p>
          <a:endParaRPr lang="de-DE"/>
        </a:p>
      </dgm:t>
    </dgm:pt>
    <dgm:pt modelId="{E7F15C06-D88C-403A-B2AB-19C2A80CCA3C}" type="pres">
      <dgm:prSet presAssocID="{0AF5A239-ABCC-4B7C-842D-BC06817C9DC5}" presName="hierChild6" presStyleCnt="0"/>
      <dgm:spPr/>
    </dgm:pt>
    <dgm:pt modelId="{08A4B144-9174-4796-B6F7-4F33B1A7E205}" type="pres">
      <dgm:prSet presAssocID="{0AF5A239-ABCC-4B7C-842D-BC06817C9DC5}" presName="hierChild7" presStyleCnt="0"/>
      <dgm:spPr/>
    </dgm:pt>
  </dgm:ptLst>
  <dgm:cxnLst>
    <dgm:cxn modelId="{E2A609CE-301C-4F0D-A13F-DB9A23F0C0DA}" type="presOf" srcId="{5610A543-FA73-4B93-8F80-DEEF44FC5BC0}" destId="{EDE22E64-995B-467C-BE4B-7B3A9DEB9A8B}" srcOrd="1" destOrd="0" presId="urn:microsoft.com/office/officeart/2005/8/layout/orgChart1"/>
    <dgm:cxn modelId="{5EA120E6-3502-433B-97F5-994A00C940CF}" srcId="{B439842B-CC31-45AB-A2B9-8064A59BA4A1}" destId="{5610A543-FA73-4B93-8F80-DEEF44FC5BC0}" srcOrd="2" destOrd="0" parTransId="{19C370EE-2EFD-43DC-AC8A-3A201738B758}" sibTransId="{C337DB43-9BA2-47BC-B17D-85530E7F316B}"/>
    <dgm:cxn modelId="{F9ACC2D3-AD32-4D25-B676-920B4E7DCBEF}" type="presOf" srcId="{5610A543-FA73-4B93-8F80-DEEF44FC5BC0}" destId="{29FB3FFF-2026-4B23-BCFD-2669F9CD2730}" srcOrd="0" destOrd="0" presId="urn:microsoft.com/office/officeart/2005/8/layout/orgChart1"/>
    <dgm:cxn modelId="{9744AC86-21F9-4C19-BE35-A7BAAB1F9922}" type="presOf" srcId="{6E87E788-C070-4BD2-8E8D-707601533412}" destId="{D6F26AB7-95B7-4B08-8199-97F2805F6DB0}" srcOrd="0" destOrd="0" presId="urn:microsoft.com/office/officeart/2005/8/layout/orgChart1"/>
    <dgm:cxn modelId="{EB8416CA-4C12-40A2-866D-6A28AEEC9824}" srcId="{B439842B-CC31-45AB-A2B9-8064A59BA4A1}" destId="{2B2962F2-32A2-40EF-B512-95BB0FD7FFF6}" srcOrd="1" destOrd="0" parTransId="{6E87E788-C070-4BD2-8E8D-707601533412}" sibTransId="{B21878A4-D01A-4DF5-8274-53A72EC32C6E}"/>
    <dgm:cxn modelId="{6F4BAD86-442F-4CE4-B44B-2ED8188B5AA7}" type="presOf" srcId="{0756D1ED-B583-4DB5-AD85-BAB7C4FD6DB8}" destId="{0802F2CC-9161-4772-8A5A-4030C20FDD76}" srcOrd="0" destOrd="0" presId="urn:microsoft.com/office/officeart/2005/8/layout/orgChart1"/>
    <dgm:cxn modelId="{FC1F2153-88B9-4CDD-B29D-3619FD35522E}" type="presOf" srcId="{2B2962F2-32A2-40EF-B512-95BB0FD7FFF6}" destId="{5DD72687-DF55-433C-8B79-9DDAE0202134}" srcOrd="1" destOrd="0" presId="urn:microsoft.com/office/officeart/2005/8/layout/orgChart1"/>
    <dgm:cxn modelId="{273214CF-13D1-482C-9E26-3B437C958B36}" type="presOf" srcId="{348F2C4A-8E6B-499A-A02D-E2162787CD79}" destId="{65F26856-D1C7-41D0-BDE5-5FADACE14A24}" srcOrd="1" destOrd="0" presId="urn:microsoft.com/office/officeart/2005/8/layout/orgChart1"/>
    <dgm:cxn modelId="{8402598C-432A-4528-BBE3-1A68E3AFF4CA}" type="presOf" srcId="{348F2C4A-8E6B-499A-A02D-E2162787CD79}" destId="{8B515D25-BD7F-41D6-AD56-2BC6C91663BB}" srcOrd="0" destOrd="0" presId="urn:microsoft.com/office/officeart/2005/8/layout/orgChart1"/>
    <dgm:cxn modelId="{9173057A-D6D1-4579-9524-1D9290B8868F}" srcId="{0756D1ED-B583-4DB5-AD85-BAB7C4FD6DB8}" destId="{B439842B-CC31-45AB-A2B9-8064A59BA4A1}" srcOrd="0" destOrd="0" parTransId="{E8454968-8FFB-4E56-BADD-30BE19532A35}" sibTransId="{DB972D6C-DF50-4182-9810-FE08FDF56D28}"/>
    <dgm:cxn modelId="{33485F32-65BD-45AA-84FE-337A90797016}" type="presOf" srcId="{BA691F9A-8F35-40FA-88CD-625CE40CB797}" destId="{67EE4ED7-8840-4658-9EFD-C58E0C758561}" srcOrd="0" destOrd="0" presId="urn:microsoft.com/office/officeart/2005/8/layout/orgChart1"/>
    <dgm:cxn modelId="{EE22382E-8C30-4E6D-A238-2877921E6889}" srcId="{B439842B-CC31-45AB-A2B9-8064A59BA4A1}" destId="{0AF5A239-ABCC-4B7C-842D-BC06817C9DC5}" srcOrd="0" destOrd="0" parTransId="{BA691F9A-8F35-40FA-88CD-625CE40CB797}" sibTransId="{D0FE8A14-A378-4B98-AC72-938A564957A9}"/>
    <dgm:cxn modelId="{AB387E62-26D4-423A-9604-165F2D41FFD3}" type="presOf" srcId="{0AF5A239-ABCC-4B7C-842D-BC06817C9DC5}" destId="{5AA9ABD5-F42E-4527-8885-1897BF57B8F9}" srcOrd="0" destOrd="0" presId="urn:microsoft.com/office/officeart/2005/8/layout/orgChart1"/>
    <dgm:cxn modelId="{88542111-7D54-4B97-AA35-60814F0BC639}" type="presOf" srcId="{B439842B-CC31-45AB-A2B9-8064A59BA4A1}" destId="{C811A9BF-F3A3-4A4A-B380-57F62759532D}" srcOrd="1" destOrd="0" presId="urn:microsoft.com/office/officeart/2005/8/layout/orgChart1"/>
    <dgm:cxn modelId="{EEB7E66C-A980-4BD3-990C-6CAD41BB6C5E}" type="presOf" srcId="{2B2962F2-32A2-40EF-B512-95BB0FD7FFF6}" destId="{6279F4DF-CD5F-43C4-B524-29602798457F}" srcOrd="0" destOrd="0" presId="urn:microsoft.com/office/officeart/2005/8/layout/orgChart1"/>
    <dgm:cxn modelId="{B212790C-614B-4B3B-995E-8E4B86DFC1EA}" srcId="{B439842B-CC31-45AB-A2B9-8064A59BA4A1}" destId="{348F2C4A-8E6B-499A-A02D-E2162787CD79}" srcOrd="3" destOrd="0" parTransId="{2FF66986-1EFB-4D57-BBBD-EE73E445A0DD}" sibTransId="{10B9B24D-2DDF-4D69-A3F2-E1DF7B981681}"/>
    <dgm:cxn modelId="{F0D16C3A-C043-4CF5-BBFD-15CFD50D0C77}" type="presOf" srcId="{0AF5A239-ABCC-4B7C-842D-BC06817C9DC5}" destId="{A7A3CAEC-4D4B-420E-9B26-08FDC7C14B27}" srcOrd="1" destOrd="0" presId="urn:microsoft.com/office/officeart/2005/8/layout/orgChart1"/>
    <dgm:cxn modelId="{1340646D-2030-497A-85FC-A662F8EE4DAB}" type="presOf" srcId="{B439842B-CC31-45AB-A2B9-8064A59BA4A1}" destId="{41E35235-443A-49AF-B5AF-8A7DA6A07908}" srcOrd="0" destOrd="0" presId="urn:microsoft.com/office/officeart/2005/8/layout/orgChart1"/>
    <dgm:cxn modelId="{C1EC4417-643C-48C9-9E97-6E3C1450B819}" type="presOf" srcId="{2FF66986-1EFB-4D57-BBBD-EE73E445A0DD}" destId="{8C3344FE-39D9-47EE-8A31-DE62129F6209}" srcOrd="0" destOrd="0" presId="urn:microsoft.com/office/officeart/2005/8/layout/orgChart1"/>
    <dgm:cxn modelId="{BD356C72-99A5-49C7-A234-54978D58EC92}" type="presOf" srcId="{19C370EE-2EFD-43DC-AC8A-3A201738B758}" destId="{494E9CAE-3A0A-4B1C-B55B-02DD4A91C441}" srcOrd="0" destOrd="0" presId="urn:microsoft.com/office/officeart/2005/8/layout/orgChart1"/>
    <dgm:cxn modelId="{87C48D16-34C3-4EA4-A550-95498011B8D9}" type="presParOf" srcId="{0802F2CC-9161-4772-8A5A-4030C20FDD76}" destId="{9408E9D6-EDE9-40A2-8F19-51C22196994E}" srcOrd="0" destOrd="0" presId="urn:microsoft.com/office/officeart/2005/8/layout/orgChart1"/>
    <dgm:cxn modelId="{F17F9194-C262-4B6B-8961-0729E5AFC3FC}" type="presParOf" srcId="{9408E9D6-EDE9-40A2-8F19-51C22196994E}" destId="{58604147-2A61-40CB-AE6C-AE36C73106DA}" srcOrd="0" destOrd="0" presId="urn:microsoft.com/office/officeart/2005/8/layout/orgChart1"/>
    <dgm:cxn modelId="{6A78570C-107E-4DCB-BEAE-48A6679A880B}" type="presParOf" srcId="{58604147-2A61-40CB-AE6C-AE36C73106DA}" destId="{41E35235-443A-49AF-B5AF-8A7DA6A07908}" srcOrd="0" destOrd="0" presId="urn:microsoft.com/office/officeart/2005/8/layout/orgChart1"/>
    <dgm:cxn modelId="{0A05E3DC-CEC9-445A-986E-016623398BEF}" type="presParOf" srcId="{58604147-2A61-40CB-AE6C-AE36C73106DA}" destId="{C811A9BF-F3A3-4A4A-B380-57F62759532D}" srcOrd="1" destOrd="0" presId="urn:microsoft.com/office/officeart/2005/8/layout/orgChart1"/>
    <dgm:cxn modelId="{055F7C58-9124-416A-B7DF-72A62AB5D838}" type="presParOf" srcId="{9408E9D6-EDE9-40A2-8F19-51C22196994E}" destId="{B6C46061-291D-4AB9-B1A5-0F4A1C7D3A46}" srcOrd="1" destOrd="0" presId="urn:microsoft.com/office/officeart/2005/8/layout/orgChart1"/>
    <dgm:cxn modelId="{6CCBF262-7A51-4CEC-AD8C-51A2A643A5B4}" type="presParOf" srcId="{B6C46061-291D-4AB9-B1A5-0F4A1C7D3A46}" destId="{D6F26AB7-95B7-4B08-8199-97F2805F6DB0}" srcOrd="0" destOrd="0" presId="urn:microsoft.com/office/officeart/2005/8/layout/orgChart1"/>
    <dgm:cxn modelId="{00103D04-DE03-4520-BA6F-3FBC697C9D8F}" type="presParOf" srcId="{B6C46061-291D-4AB9-B1A5-0F4A1C7D3A46}" destId="{13B9C17F-B8C5-4033-AEF5-9CD6B191435B}" srcOrd="1" destOrd="0" presId="urn:microsoft.com/office/officeart/2005/8/layout/orgChart1"/>
    <dgm:cxn modelId="{2848E16E-4F8B-45FA-A570-D48E3DAEABB3}" type="presParOf" srcId="{13B9C17F-B8C5-4033-AEF5-9CD6B191435B}" destId="{F9E4DE7F-0456-448B-B8EF-68FB6BAAA35C}" srcOrd="0" destOrd="0" presId="urn:microsoft.com/office/officeart/2005/8/layout/orgChart1"/>
    <dgm:cxn modelId="{2DAAB452-177B-4309-BD14-14B91B0C8C77}" type="presParOf" srcId="{F9E4DE7F-0456-448B-B8EF-68FB6BAAA35C}" destId="{6279F4DF-CD5F-43C4-B524-29602798457F}" srcOrd="0" destOrd="0" presId="urn:microsoft.com/office/officeart/2005/8/layout/orgChart1"/>
    <dgm:cxn modelId="{F8CB03ED-D213-454D-8846-6892A30ADC4F}" type="presParOf" srcId="{F9E4DE7F-0456-448B-B8EF-68FB6BAAA35C}" destId="{5DD72687-DF55-433C-8B79-9DDAE0202134}" srcOrd="1" destOrd="0" presId="urn:microsoft.com/office/officeart/2005/8/layout/orgChart1"/>
    <dgm:cxn modelId="{DCADEFEF-A4FE-41F4-9B1F-AE96DB4DBA63}" type="presParOf" srcId="{13B9C17F-B8C5-4033-AEF5-9CD6B191435B}" destId="{35F279AF-2DC1-46F6-BAAB-AEA2F8F8D728}" srcOrd="1" destOrd="0" presId="urn:microsoft.com/office/officeart/2005/8/layout/orgChart1"/>
    <dgm:cxn modelId="{327FA700-CD6F-4B58-AFD2-FDDC54C9F189}" type="presParOf" srcId="{13B9C17F-B8C5-4033-AEF5-9CD6B191435B}" destId="{57FB9426-4FB6-4DB3-B6CF-E50221912A84}" srcOrd="2" destOrd="0" presId="urn:microsoft.com/office/officeart/2005/8/layout/orgChart1"/>
    <dgm:cxn modelId="{98E0E85D-94CF-413B-9700-4BDA0E9A53CB}" type="presParOf" srcId="{B6C46061-291D-4AB9-B1A5-0F4A1C7D3A46}" destId="{494E9CAE-3A0A-4B1C-B55B-02DD4A91C441}" srcOrd="2" destOrd="0" presId="urn:microsoft.com/office/officeart/2005/8/layout/orgChart1"/>
    <dgm:cxn modelId="{FD879AC3-8FD8-4E8C-A9BE-62E48C5FC2E8}" type="presParOf" srcId="{B6C46061-291D-4AB9-B1A5-0F4A1C7D3A46}" destId="{CACF37A5-904D-4CAA-BE4E-CA6B27EBA706}" srcOrd="3" destOrd="0" presId="urn:microsoft.com/office/officeart/2005/8/layout/orgChart1"/>
    <dgm:cxn modelId="{77595129-84FA-402E-8959-DD734A7AE70B}" type="presParOf" srcId="{CACF37A5-904D-4CAA-BE4E-CA6B27EBA706}" destId="{FCA9BEEA-6DE3-488F-8A2F-14E5A5A314EA}" srcOrd="0" destOrd="0" presId="urn:microsoft.com/office/officeart/2005/8/layout/orgChart1"/>
    <dgm:cxn modelId="{F99D09BA-145C-44C9-9699-025A3834FEE0}" type="presParOf" srcId="{FCA9BEEA-6DE3-488F-8A2F-14E5A5A314EA}" destId="{29FB3FFF-2026-4B23-BCFD-2669F9CD2730}" srcOrd="0" destOrd="0" presId="urn:microsoft.com/office/officeart/2005/8/layout/orgChart1"/>
    <dgm:cxn modelId="{8126682C-4FDB-4C73-B9F6-3AE822CA8EC3}" type="presParOf" srcId="{FCA9BEEA-6DE3-488F-8A2F-14E5A5A314EA}" destId="{EDE22E64-995B-467C-BE4B-7B3A9DEB9A8B}" srcOrd="1" destOrd="0" presId="urn:microsoft.com/office/officeart/2005/8/layout/orgChart1"/>
    <dgm:cxn modelId="{0A2E019A-C450-4DA7-AEC8-B72C90A31C9C}" type="presParOf" srcId="{CACF37A5-904D-4CAA-BE4E-CA6B27EBA706}" destId="{CC68B8AC-399C-417A-8A3B-C276F6314DBA}" srcOrd="1" destOrd="0" presId="urn:microsoft.com/office/officeart/2005/8/layout/orgChart1"/>
    <dgm:cxn modelId="{AAE9604D-803A-413F-AB20-6DE8E08DFF4B}" type="presParOf" srcId="{CACF37A5-904D-4CAA-BE4E-CA6B27EBA706}" destId="{A90BD519-D017-4301-85D4-38952A653F32}" srcOrd="2" destOrd="0" presId="urn:microsoft.com/office/officeart/2005/8/layout/orgChart1"/>
    <dgm:cxn modelId="{FA567A22-CB51-431E-98D9-CA121C8515FB}" type="presParOf" srcId="{B6C46061-291D-4AB9-B1A5-0F4A1C7D3A46}" destId="{8C3344FE-39D9-47EE-8A31-DE62129F6209}" srcOrd="4" destOrd="0" presId="urn:microsoft.com/office/officeart/2005/8/layout/orgChart1"/>
    <dgm:cxn modelId="{EC6FA16B-2B22-4AB3-BE0F-2D38E1E52811}" type="presParOf" srcId="{B6C46061-291D-4AB9-B1A5-0F4A1C7D3A46}" destId="{FC964A30-2B05-4574-A73C-70D6DC3666C7}" srcOrd="5" destOrd="0" presId="urn:microsoft.com/office/officeart/2005/8/layout/orgChart1"/>
    <dgm:cxn modelId="{5FB970CD-181B-4AC3-83FF-065D0F779692}" type="presParOf" srcId="{FC964A30-2B05-4574-A73C-70D6DC3666C7}" destId="{9DA7DF46-7295-45B2-9464-6AC28A1B884E}" srcOrd="0" destOrd="0" presId="urn:microsoft.com/office/officeart/2005/8/layout/orgChart1"/>
    <dgm:cxn modelId="{3E54985B-7EF5-4379-8CFB-C7942BBFAED0}" type="presParOf" srcId="{9DA7DF46-7295-45B2-9464-6AC28A1B884E}" destId="{8B515D25-BD7F-41D6-AD56-2BC6C91663BB}" srcOrd="0" destOrd="0" presId="urn:microsoft.com/office/officeart/2005/8/layout/orgChart1"/>
    <dgm:cxn modelId="{A5CC6872-82B3-4BDD-8D4A-5CD458F15E20}" type="presParOf" srcId="{9DA7DF46-7295-45B2-9464-6AC28A1B884E}" destId="{65F26856-D1C7-41D0-BDE5-5FADACE14A24}" srcOrd="1" destOrd="0" presId="urn:microsoft.com/office/officeart/2005/8/layout/orgChart1"/>
    <dgm:cxn modelId="{7390CF77-02C0-4737-87AE-46020D244E2C}" type="presParOf" srcId="{FC964A30-2B05-4574-A73C-70D6DC3666C7}" destId="{9D3830F4-0E79-4927-A397-B42F51B387FE}" srcOrd="1" destOrd="0" presId="urn:microsoft.com/office/officeart/2005/8/layout/orgChart1"/>
    <dgm:cxn modelId="{9D25B88D-8D58-4A28-AB1E-49E6A1BFEBA7}" type="presParOf" srcId="{FC964A30-2B05-4574-A73C-70D6DC3666C7}" destId="{E1884C39-C653-4411-AE04-8CC2B1A6D360}" srcOrd="2" destOrd="0" presId="urn:microsoft.com/office/officeart/2005/8/layout/orgChart1"/>
    <dgm:cxn modelId="{234A01D8-4D1D-4E08-B557-CFE3DF92701E}" type="presParOf" srcId="{9408E9D6-EDE9-40A2-8F19-51C22196994E}" destId="{AA743789-8BCB-4D3A-8226-D57A6C9BDA7D}" srcOrd="2" destOrd="0" presId="urn:microsoft.com/office/officeart/2005/8/layout/orgChart1"/>
    <dgm:cxn modelId="{F81437B1-A512-4D23-99F2-8B75FF397052}" type="presParOf" srcId="{AA743789-8BCB-4D3A-8226-D57A6C9BDA7D}" destId="{67EE4ED7-8840-4658-9EFD-C58E0C758561}" srcOrd="0" destOrd="0" presId="urn:microsoft.com/office/officeart/2005/8/layout/orgChart1"/>
    <dgm:cxn modelId="{4C94475C-7DFE-4AFE-A1DA-FB5CD53AD407}" type="presParOf" srcId="{AA743789-8BCB-4D3A-8226-D57A6C9BDA7D}" destId="{F9B49148-6B08-4043-9277-D42D1692663B}" srcOrd="1" destOrd="0" presId="urn:microsoft.com/office/officeart/2005/8/layout/orgChart1"/>
    <dgm:cxn modelId="{0727795F-659E-4FDD-868D-832E7D9291E0}" type="presParOf" srcId="{F9B49148-6B08-4043-9277-D42D1692663B}" destId="{CE710974-5BF6-438B-BF49-9E33DBC6A33F}" srcOrd="0" destOrd="0" presId="urn:microsoft.com/office/officeart/2005/8/layout/orgChart1"/>
    <dgm:cxn modelId="{BEDCDFB7-C4D4-4148-9DD4-A4F6EE1DCF8B}" type="presParOf" srcId="{CE710974-5BF6-438B-BF49-9E33DBC6A33F}" destId="{5AA9ABD5-F42E-4527-8885-1897BF57B8F9}" srcOrd="0" destOrd="0" presId="urn:microsoft.com/office/officeart/2005/8/layout/orgChart1"/>
    <dgm:cxn modelId="{69F5149B-6B8D-4B8C-95C6-447240D611F0}" type="presParOf" srcId="{CE710974-5BF6-438B-BF49-9E33DBC6A33F}" destId="{A7A3CAEC-4D4B-420E-9B26-08FDC7C14B27}" srcOrd="1" destOrd="0" presId="urn:microsoft.com/office/officeart/2005/8/layout/orgChart1"/>
    <dgm:cxn modelId="{F30A098F-FBB6-4944-ABE5-D3F53908921C}" type="presParOf" srcId="{F9B49148-6B08-4043-9277-D42D1692663B}" destId="{E7F15C06-D88C-403A-B2AB-19C2A80CCA3C}" srcOrd="1" destOrd="0" presId="urn:microsoft.com/office/officeart/2005/8/layout/orgChart1"/>
    <dgm:cxn modelId="{6789536D-FF87-4AAC-B47D-E55422895297}" type="presParOf" srcId="{F9B49148-6B08-4043-9277-D42D1692663B}" destId="{08A4B144-9174-4796-B6F7-4F33B1A7E20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7EE4ED7-8840-4658-9EFD-C58E0C758561}">
      <dsp:nvSpPr>
        <dsp:cNvPr id="0" name=""/>
        <dsp:cNvSpPr/>
      </dsp:nvSpPr>
      <dsp:spPr>
        <a:xfrm>
          <a:off x="2535294" y="816527"/>
          <a:ext cx="165836" cy="726522"/>
        </a:xfrm>
        <a:custGeom>
          <a:avLst/>
          <a:gdLst/>
          <a:ahLst/>
          <a:cxnLst/>
          <a:rect l="0" t="0" r="0" b="0"/>
          <a:pathLst>
            <a:path>
              <a:moveTo>
                <a:pt x="165836" y="0"/>
              </a:moveTo>
              <a:lnTo>
                <a:pt x="165836" y="726522"/>
              </a:lnTo>
              <a:lnTo>
                <a:pt x="0" y="726522"/>
              </a:lnTo>
            </a:path>
          </a:pathLst>
        </a:custGeom>
        <a:noFill/>
        <a:ln w="25400" cap="flat" cmpd="sng" algn="ctr">
          <a:solidFill>
            <a:schemeClr val="accent5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3344FE-39D9-47EE-8A31-DE62129F6209}">
      <dsp:nvSpPr>
        <dsp:cNvPr id="0" name=""/>
        <dsp:cNvSpPr/>
      </dsp:nvSpPr>
      <dsp:spPr>
        <a:xfrm>
          <a:off x="2701131" y="816527"/>
          <a:ext cx="1911069" cy="14530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87208"/>
              </a:lnTo>
              <a:lnTo>
                <a:pt x="1911069" y="1287208"/>
              </a:lnTo>
              <a:lnTo>
                <a:pt x="1911069" y="1453044"/>
              </a:lnTo>
            </a:path>
          </a:pathLst>
        </a:custGeom>
        <a:noFill/>
        <a:ln w="25400" cap="flat" cmpd="sng" algn="ctr">
          <a:solidFill>
            <a:schemeClr val="accent5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4E9CAE-3A0A-4B1C-B55B-02DD4A91C441}">
      <dsp:nvSpPr>
        <dsp:cNvPr id="0" name=""/>
        <dsp:cNvSpPr/>
      </dsp:nvSpPr>
      <dsp:spPr>
        <a:xfrm>
          <a:off x="2655411" y="816527"/>
          <a:ext cx="91440" cy="14530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53044"/>
              </a:lnTo>
            </a:path>
          </a:pathLst>
        </a:custGeom>
        <a:noFill/>
        <a:ln w="25400" cap="flat" cmpd="sng" algn="ctr">
          <a:solidFill>
            <a:schemeClr val="accent5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F26AB7-95B7-4B08-8199-97F2805F6DB0}">
      <dsp:nvSpPr>
        <dsp:cNvPr id="0" name=""/>
        <dsp:cNvSpPr/>
      </dsp:nvSpPr>
      <dsp:spPr>
        <a:xfrm>
          <a:off x="790061" y="816527"/>
          <a:ext cx="1911069" cy="1453044"/>
        </a:xfrm>
        <a:custGeom>
          <a:avLst/>
          <a:gdLst/>
          <a:ahLst/>
          <a:cxnLst/>
          <a:rect l="0" t="0" r="0" b="0"/>
          <a:pathLst>
            <a:path>
              <a:moveTo>
                <a:pt x="1911069" y="0"/>
              </a:moveTo>
              <a:lnTo>
                <a:pt x="1911069" y="1287208"/>
              </a:lnTo>
              <a:lnTo>
                <a:pt x="0" y="1287208"/>
              </a:lnTo>
              <a:lnTo>
                <a:pt x="0" y="1453044"/>
              </a:lnTo>
            </a:path>
          </a:pathLst>
        </a:custGeom>
        <a:noFill/>
        <a:ln w="25400" cap="flat" cmpd="sng" algn="ctr">
          <a:solidFill>
            <a:schemeClr val="accent5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E35235-443A-49AF-B5AF-8A7DA6A07908}">
      <dsp:nvSpPr>
        <dsp:cNvPr id="0" name=""/>
        <dsp:cNvSpPr/>
      </dsp:nvSpPr>
      <dsp:spPr>
        <a:xfrm>
          <a:off x="1911432" y="26829"/>
          <a:ext cx="1579396" cy="789698"/>
        </a:xfrm>
        <a:prstGeom prst="rect">
          <a:avLst/>
        </a:prstGeom>
        <a:solidFill>
          <a:srgbClr val="0046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TD</a:t>
          </a:r>
          <a:endParaRPr lang="de-DE" sz="2600" kern="1200" dirty="0"/>
        </a:p>
      </dsp:txBody>
      <dsp:txXfrm>
        <a:off x="1911432" y="26829"/>
        <a:ext cx="1579396" cy="789698"/>
      </dsp:txXfrm>
    </dsp:sp>
    <dsp:sp modelId="{6279F4DF-CD5F-43C4-B524-29602798457F}">
      <dsp:nvSpPr>
        <dsp:cNvPr id="0" name=""/>
        <dsp:cNvSpPr/>
      </dsp:nvSpPr>
      <dsp:spPr>
        <a:xfrm>
          <a:off x="362" y="2269572"/>
          <a:ext cx="1579396" cy="789698"/>
        </a:xfrm>
        <a:prstGeom prst="rect">
          <a:avLst/>
        </a:prstGeom>
        <a:solidFill>
          <a:srgbClr val="0046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Properties</a:t>
          </a:r>
          <a:endParaRPr lang="de-DE" sz="2600" kern="1200" dirty="0"/>
        </a:p>
      </dsp:txBody>
      <dsp:txXfrm>
        <a:off x="362" y="2269572"/>
        <a:ext cx="1579396" cy="789698"/>
      </dsp:txXfrm>
    </dsp:sp>
    <dsp:sp modelId="{29FB3FFF-2026-4B23-BCFD-2669F9CD2730}">
      <dsp:nvSpPr>
        <dsp:cNvPr id="0" name=""/>
        <dsp:cNvSpPr/>
      </dsp:nvSpPr>
      <dsp:spPr>
        <a:xfrm>
          <a:off x="1911432" y="2269572"/>
          <a:ext cx="1579396" cy="789698"/>
        </a:xfrm>
        <a:prstGeom prst="rect">
          <a:avLst/>
        </a:prstGeom>
        <a:solidFill>
          <a:srgbClr val="0046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Actions</a:t>
          </a:r>
          <a:endParaRPr lang="de-DE" sz="2600" kern="1200" dirty="0"/>
        </a:p>
      </dsp:txBody>
      <dsp:txXfrm>
        <a:off x="1911432" y="2269572"/>
        <a:ext cx="1579396" cy="789698"/>
      </dsp:txXfrm>
    </dsp:sp>
    <dsp:sp modelId="{8B515D25-BD7F-41D6-AD56-2BC6C91663BB}">
      <dsp:nvSpPr>
        <dsp:cNvPr id="0" name=""/>
        <dsp:cNvSpPr/>
      </dsp:nvSpPr>
      <dsp:spPr>
        <a:xfrm>
          <a:off x="3822502" y="2269572"/>
          <a:ext cx="1579396" cy="789698"/>
        </a:xfrm>
        <a:prstGeom prst="rect">
          <a:avLst/>
        </a:prstGeom>
        <a:solidFill>
          <a:srgbClr val="0046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Events</a:t>
          </a:r>
          <a:endParaRPr lang="de-DE" sz="2600" kern="1200" dirty="0"/>
        </a:p>
      </dsp:txBody>
      <dsp:txXfrm>
        <a:off x="3822502" y="2269572"/>
        <a:ext cx="1579396" cy="789698"/>
      </dsp:txXfrm>
    </dsp:sp>
    <dsp:sp modelId="{5AA9ABD5-F42E-4527-8885-1897BF57B8F9}">
      <dsp:nvSpPr>
        <dsp:cNvPr id="0" name=""/>
        <dsp:cNvSpPr/>
      </dsp:nvSpPr>
      <dsp:spPr>
        <a:xfrm>
          <a:off x="955897" y="1148200"/>
          <a:ext cx="1579396" cy="789698"/>
        </a:xfrm>
        <a:prstGeom prst="rect">
          <a:avLst/>
        </a:prstGeom>
        <a:solidFill>
          <a:srgbClr val="00466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err="1" smtClean="0"/>
            <a:t>Metadata</a:t>
          </a:r>
          <a:endParaRPr lang="de-DE" sz="2600" kern="1200" dirty="0"/>
        </a:p>
      </dsp:txBody>
      <dsp:txXfrm>
        <a:off x="955897" y="1148200"/>
        <a:ext cx="1579396" cy="7896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10400" cy="634468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6018" tIns="43009" rIns="86018" bIns="43009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1481" y="0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94593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1481" y="8794593"/>
            <a:ext cx="3208919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08920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1481" y="0"/>
            <a:ext cx="3207352" cy="501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8500"/>
            <a:ext cx="6199188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5143" y="4380714"/>
            <a:ext cx="6540114" cy="4147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94593"/>
            <a:ext cx="3208920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1481" y="8794593"/>
            <a:ext cx="3207352" cy="50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65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2.v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w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82.xml"/><Relationship Id="rId7" Type="http://schemas.openxmlformats.org/officeDocument/2006/relationships/image" Target="../media/image2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71" name="think-cell Slide" r:id="rId6" imgW="360" imgH="360" progId="">
              <p:embed/>
            </p:oleObj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4816398"/>
            <a:ext cx="6660000" cy="986097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108000" tIns="90000" rIns="0" bIns="216000" anchor="b" anchorCtr="0">
            <a:spAutoFit/>
          </a:bodyPr>
          <a:lstStyle>
            <a:lvl1pPr>
              <a:defRPr sz="44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66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/>
              <a:t>www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ublic© </a:t>
            </a:r>
            <a:r>
              <a:rPr lang="en-US" dirty="0"/>
              <a:t>Siemens AG </a:t>
            </a:r>
            <a:r>
              <a:rPr lang="en-US" dirty="0" smtClean="0"/>
              <a:t>2018</a:t>
            </a:r>
            <a:endParaRPr lang="de-DE" dirty="0"/>
          </a:p>
        </p:txBody>
      </p:sp>
      <p:grpSp>
        <p:nvGrpSpPr>
          <p:cNvPr id="3" name="Gruppieren 3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145107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87" name="think-cell Slide" r:id="rId6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177160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11" name="think-cell Slide" r:id="rId7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607869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35" name="think-cell Slide" r:id="rId8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97984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59" name="think-cell Slide" r:id="rId5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746365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83" name="think-cell Slide" r:id="rId6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5588027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07" name="think-cell Slide" r:id="rId7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573427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31" name="think-cell Slide" r:id="rId8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986229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55" name="think-cell Slide" r:id="rId7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951015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79" name="think-cell Slide" r:id="rId9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navigation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chapter</a:t>
            </a:r>
            <a:endParaRPr lang="de-DE" noProof="0" dirty="0"/>
          </a:p>
          <a:p>
            <a:pPr lvl="2"/>
            <a:r>
              <a:rPr lang="de-DE" noProof="0" dirty="0" err="1"/>
              <a:t>subchapter</a:t>
            </a:r>
            <a:endParaRPr lang="de-DE" noProof="0" dirty="0"/>
          </a:p>
          <a:p>
            <a:pPr lvl="3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noProof="0" dirty="0"/>
          </a:p>
          <a:p>
            <a:pPr lvl="4"/>
            <a:r>
              <a:rPr lang="de-DE" noProof="0" dirty="0" err="1"/>
              <a:t>subchapter</a:t>
            </a:r>
            <a:endParaRPr lang="de-DE" noProof="0" dirty="0"/>
          </a:p>
          <a:p>
            <a:pPr lvl="5"/>
            <a:r>
              <a:rPr lang="de-DE" noProof="0" dirty="0" err="1"/>
              <a:t>active</a:t>
            </a:r>
            <a:r>
              <a:rPr lang="de-DE" noProof="0" dirty="0"/>
              <a:t> </a:t>
            </a:r>
            <a:r>
              <a:rPr lang="de-DE" noProof="0" dirty="0" err="1"/>
              <a:t>subchap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532408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3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oc</a:t>
            </a:r>
            <a:r>
              <a:rPr lang="de-DE" dirty="0"/>
              <a:t> / </a:t>
            </a:r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 err="1"/>
              <a:t>chapter</a:t>
            </a:r>
            <a:endParaRPr lang="de-DE" dirty="0"/>
          </a:p>
          <a:p>
            <a:pPr lvl="2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  <a:p>
            <a:pPr lvl="3"/>
            <a:r>
              <a:rPr lang="de-DE" dirty="0" err="1"/>
              <a:t>subchapter</a:t>
            </a:r>
            <a:endParaRPr lang="de-DE" dirty="0"/>
          </a:p>
          <a:p>
            <a:pPr lvl="4"/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subchapter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7949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53272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95" name="think-cell Slide" r:id="rId4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3504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278774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1527" name="think-cell Slid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7064" y="1412548"/>
            <a:ext cx="11088687" cy="215394"/>
          </a:xfrm>
        </p:spPr>
        <p:txBody>
          <a:bodyPr/>
          <a:lstStyle>
            <a:lvl1pPr marL="0" indent="0">
              <a:defRPr/>
            </a:lvl1pPr>
            <a:lvl2pPr marL="155575" indent="-155575">
              <a:defRPr/>
            </a:lvl2pPr>
            <a:lvl3pPr marL="311150" indent="-155575">
              <a:defRPr/>
            </a:lvl3pPr>
            <a:lvl4pPr marL="466725" indent="-155575">
              <a:defRPr/>
            </a:lvl4pPr>
            <a:lvl5pPr marL="622300" indent="-155575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6189559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51" name="think-cell Slid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0" y="1412875"/>
            <a:ext cx="12198350" cy="475297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  <a:extLst/>
        </p:spPr>
        <p:txBody>
          <a:bodyPr wrap="square" lIns="540000" tIns="144000" rIns="396000" bIns="144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endParaRPr lang="en-US" sz="2800" b="1" dirty="0">
              <a:solidFill>
                <a:srgbClr val="005F87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7197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575" name="think-cell Slide" r:id="rId5" imgW="360" imgH="360" progId="">
              <p:embed/>
            </p:oleObj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 eaLnBrk="1" hangingPunct="1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 smtClean="0"/>
              <a:t>Public </a:t>
            </a:r>
            <a:r>
              <a:rPr lang="en-US" dirty="0"/>
              <a:t>© Siemens AG </a:t>
            </a:r>
            <a:r>
              <a:rPr lang="en-US" dirty="0" smtClean="0"/>
              <a:t>2018</a:t>
            </a:r>
            <a:endParaRPr lang="en-US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42410606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7124839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774582"/>
            <a:ext cx="5472112" cy="4391268"/>
          </a:xfrm>
          <a:solidFill>
            <a:srgbClr val="D7D7C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/>
              <a:t>Click to edit Master text styles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3413" r="16566"/>
          <a:stretch/>
        </p:blipFill>
        <p:spPr>
          <a:xfrm>
            <a:off x="627063" y="1773238"/>
            <a:ext cx="5472112" cy="4392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2130161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50310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599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2427521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Technolog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/>
              <a:t>Confidential © Siemens AG 2016</a:t>
            </a:r>
            <a:endParaRPr lang="en-US" dirty="0"/>
          </a:p>
        </p:txBody>
      </p:sp>
      <p:graphicFrame>
        <p:nvGraphicFramePr>
          <p:cNvPr id="36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71764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23" name="think-cell Slide" r:id="rId6" imgW="360" imgH="360" progId="">
              <p:embed/>
            </p:oleObj>
          </a:graphicData>
        </a:graphic>
      </p:graphicFrame>
      <p:pic>
        <p:nvPicPr>
          <p:cNvPr id="38" name="Picture 2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710" t="2369" r="1699" b="2348"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40" name="Grafik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41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42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xmlns="" val="924291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19" name="think-cell Slid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xmlns="" val="1183615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43" name="think-cell Slide" r:id="rId3" imgW="360" imgH="360" progId="">
              <p:embed/>
            </p:oleObj>
          </a:graphicData>
        </a:graphic>
      </p:graphicFrame>
      <p:grpSp>
        <p:nvGrpSpPr>
          <p:cNvPr id="5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65769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67" name="think-cell Slide" r:id="rId3" imgW="360" imgH="360" progId="">
              <p:embed/>
            </p:oleObj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lick to edit the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935850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91" name="think-cell Slide" r:id="rId5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605542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15" name="think-cell Slide" r:id="rId6" imgW="360" imgH="360" progId="">
              <p:embed/>
            </p:oleObj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Click to edit the Titel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313002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39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lvl="1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lvl="2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lvl="3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lvl="4"/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505083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3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Click to edit the Titel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ick to edit Master text styles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ond level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ird level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urth level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fth level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fr-FR"/>
              <a:t>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546200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46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53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tags" Target="../tags/tag8.xml"/><Relationship Id="rId49" Type="http://schemas.openxmlformats.org/officeDocument/2006/relationships/tags" Target="../tags/tag21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4" Type="http://schemas.openxmlformats.org/officeDocument/2006/relationships/tags" Target="../tags/tag16.xml"/><Relationship Id="rId52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56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3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95582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7" name="think-cell Slide" r:id="rId57" imgW="360" imgH="360" progId="">
              <p:embed/>
            </p:oleObj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0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the Titel</a:t>
            </a:r>
            <a:endParaRPr lang="de-DE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7" name="cdtText Box 133 Id16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  <a:ea typeface="Arial Unicode MS"/>
              </a:rPr>
              <a:t>Public©Siemens</a:t>
            </a:r>
            <a:r>
              <a:rPr lang="de-DE" sz="1000" b="1" dirty="0" smtClean="0">
                <a:solidFill>
                  <a:srgbClr val="879BAA"/>
                </a:solidFill>
                <a:ea typeface="Arial Unicode MS"/>
              </a:rPr>
              <a:t> </a:t>
            </a:r>
            <a:r>
              <a:rPr lang="de-DE" sz="1000" b="1" dirty="0">
                <a:solidFill>
                  <a:srgbClr val="879BAA"/>
                </a:solidFill>
                <a:ea typeface="Arial Unicode MS"/>
              </a:rPr>
              <a:t>AG </a:t>
            </a:r>
            <a:r>
              <a:rPr lang="de-DE" sz="1000" b="1" dirty="0" smtClean="0">
                <a:solidFill>
                  <a:srgbClr val="879BAA"/>
                </a:solidFill>
                <a:ea typeface="Arial Unicode MS"/>
              </a:rPr>
              <a:t>2018</a:t>
            </a:r>
            <a:endParaRPr lang="de-DE" sz="1000" b="1" dirty="0">
              <a:solidFill>
                <a:srgbClr val="879BAA"/>
              </a:solidFill>
              <a:ea typeface="Arial Unicode MS"/>
            </a:endParaRPr>
          </a:p>
        </p:txBody>
      </p:sp>
      <p:sp>
        <p:nvSpPr>
          <p:cNvPr id="68" name="cdtTextBox 12 Id17"/>
          <p:cNvSpPr txBox="1"/>
          <p:nvPr>
            <p:custDataLst>
              <p:tags r:id="rId56"/>
            </p:custDataLst>
          </p:nvPr>
        </p:nvSpPr>
        <p:spPr>
          <a:xfrm>
            <a:off x="8021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dirty="0">
              <a:solidFill>
                <a:srgbClr val="000000"/>
              </a:solidFill>
              <a:ea typeface="Arial Unicode MS"/>
            </a:endParaRPr>
          </a:p>
        </p:txBody>
      </p:sp>
      <p:sp>
        <p:nvSpPr>
          <p:cNvPr id="63" name="Foliennummernplatzhalter 70"/>
          <p:cNvSpPr txBox="1">
            <a:spLocks/>
          </p:cNvSpPr>
          <p:nvPr/>
        </p:nvSpPr>
        <p:spPr>
          <a:xfrm>
            <a:off x="627062" y="6469480"/>
            <a:ext cx="99248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de-DE" sz="1100">
                <a:solidFill>
                  <a:srgbClr val="000000"/>
                </a:solidFill>
              </a:rPr>
              <a:t>Page </a:t>
            </a:r>
            <a:fld id="{F6240A70-8A05-4381-AE1B-16D84101237E}" type="slidenum">
              <a:rPr lang="de-DE" sz="1100" smtClean="0">
                <a:solidFill>
                  <a:srgbClr val="000000"/>
                </a:solidFill>
              </a:rPr>
              <a:pPr algn="l">
                <a:defRPr/>
              </a:pPr>
              <a:t>‹Nr.›</a:t>
            </a:fld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10326072" y="6557711"/>
            <a:ext cx="28463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100">
                <a:solidFill>
                  <a:srgbClr val="000000"/>
                </a:solidFill>
              </a:rPr>
              <a:t>Corporate Technology</a:t>
            </a:r>
            <a:endParaRPr lang="de-DE" sz="1100" dirty="0" err="1">
              <a:solidFill>
                <a:srgbClr val="000000"/>
              </a:solidFill>
            </a:endParaRPr>
          </a:p>
        </p:txBody>
      </p:sp>
      <p:grpSp>
        <p:nvGrpSpPr>
          <p:cNvPr id="7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1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2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3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7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8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9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ADBECB"/>
                </a:solidFill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77247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82" r:id="rId25"/>
    <p:sldLayoutId id="2147483784" r:id="rId26"/>
    <p:sldLayoutId id="2147483786" r:id="rId27"/>
  </p:sldLayoutIdLst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2785073"/>
            <a:ext cx="6660000" cy="3017422"/>
          </a:xfrm>
        </p:spPr>
        <p:txBody>
          <a:bodyPr/>
          <a:lstStyle/>
          <a:p>
            <a:r>
              <a:rPr lang="en-US" dirty="0"/>
              <a:t>Role Models and Lifecycles in </a:t>
            </a:r>
            <a:r>
              <a:rPr lang="en-US" dirty="0" err="1"/>
              <a:t>IoT</a:t>
            </a:r>
            <a:r>
              <a:rPr lang="en-US" dirty="0"/>
              <a:t> and their Impact on the W3C</a:t>
            </a:r>
            <a:br>
              <a:rPr lang="en-US" dirty="0"/>
            </a:br>
            <a:r>
              <a:rPr lang="en-US" dirty="0" err="1"/>
              <a:t>WoT</a:t>
            </a:r>
            <a:r>
              <a:rPr lang="en-US" dirty="0"/>
              <a:t> Thing Descrip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Michele Blank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6" name="Picture 2" descr="IoT 2018 worksho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787096" y="4545307"/>
            <a:ext cx="2270579" cy="2169664"/>
          </a:xfrm>
          <a:prstGeom prst="round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-27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Upgrade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receives an Upgrad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pgrade : A Change in the Things software or hardware that breaks backwards compatibility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might change metadata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New Interactions add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change 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are removed</a:t>
            </a: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3091789" y="3292407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3034053" y="2424620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835557" y="2372178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2530904" y="1738484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1422536" y="3994542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1479735" y="1679328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809693" y="3353641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3338" y="3998156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s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aintenance Engine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ystem Integrato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-54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End of Life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is being taken out of servic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Permanent end of opera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might change metadata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change 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are remov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might be kept alive</a:t>
            </a: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3048928" y="2406583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2419692" y="1767395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806982" y="3329441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1559354" y="1709909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2422661" y="4037404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793935" y="2336553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1409768" y="4039441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4851" y="3269493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s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aintenance Engine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ystem Integrato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rack</a:t>
            </a:r>
            <a:r>
              <a:rPr lang="de-DE" dirty="0" smtClean="0"/>
              <a:t> </a:t>
            </a:r>
            <a:r>
              <a:rPr lang="de-DE" dirty="0" err="1" smtClean="0"/>
              <a:t>changes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Thing Description?</a:t>
            </a:r>
            <a:br>
              <a:rPr lang="de-DE" dirty="0" smtClean="0"/>
            </a:br>
            <a:r>
              <a:rPr lang="de-DE" b="0" i="1" dirty="0" smtClean="0"/>
              <a:t>Who </a:t>
            </a:r>
            <a:r>
              <a:rPr lang="de-DE" b="0" i="1" dirty="0" err="1" smtClean="0"/>
              <a:t>should</a:t>
            </a:r>
            <a:r>
              <a:rPr lang="de-DE" b="0" i="1" dirty="0" smtClean="0"/>
              <a:t> </a:t>
            </a:r>
            <a:r>
              <a:rPr lang="de-DE" b="0" i="1" dirty="0" err="1" smtClean="0"/>
              <a:t>be</a:t>
            </a:r>
            <a:r>
              <a:rPr lang="de-DE" b="0" i="1" dirty="0" smtClean="0"/>
              <a:t> </a:t>
            </a:r>
            <a:r>
              <a:rPr lang="de-DE" b="0" i="1" dirty="0" err="1" smtClean="0"/>
              <a:t>able</a:t>
            </a:r>
            <a:r>
              <a:rPr lang="de-DE" b="0" i="1" dirty="0" smtClean="0"/>
              <a:t> </a:t>
            </a:r>
            <a:r>
              <a:rPr lang="de-DE" b="0" i="1" dirty="0" err="1" smtClean="0"/>
              <a:t>to</a:t>
            </a:r>
            <a:r>
              <a:rPr lang="de-DE" b="0" i="1" dirty="0" smtClean="0"/>
              <a:t> </a:t>
            </a:r>
            <a:r>
              <a:rPr lang="de-DE" b="0" i="1" dirty="0" err="1" smtClean="0"/>
              <a:t>track</a:t>
            </a:r>
            <a:r>
              <a:rPr lang="de-DE" b="0" i="1" dirty="0" smtClean="0"/>
              <a:t> </a:t>
            </a:r>
            <a:r>
              <a:rPr lang="de-DE" b="0" i="1" dirty="0" err="1" smtClean="0"/>
              <a:t>the</a:t>
            </a:r>
            <a:r>
              <a:rPr lang="de-DE" b="0" i="1" dirty="0" smtClean="0"/>
              <a:t> </a:t>
            </a:r>
            <a:r>
              <a:rPr lang="de-DE" b="0" i="1" dirty="0" err="1" smtClean="0"/>
              <a:t>changes</a:t>
            </a:r>
            <a:r>
              <a:rPr lang="de-DE" b="0" i="1" dirty="0" smtClean="0"/>
              <a:t>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Changes in Thing Description relevant to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Interacting Things and User-Clients be aware of changes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Manufacturer / System Integrator / Maintenance Engineer to identify current state of Thing unambiguously</a:t>
            </a:r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Idea: Add version object to Thing Description, offering     information about version of TD and who changed it</a:t>
            </a:r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Font typeface="Arial" pitchFamily="34" charset="0"/>
              <a:buChar char="•"/>
            </a:pPr>
            <a:endParaRPr lang="en-US" sz="2400" dirty="0"/>
          </a:p>
        </p:txBody>
      </p:sp>
      <p:sp>
        <p:nvSpPr>
          <p:cNvPr id="4" name="Textfeld 3"/>
          <p:cNvSpPr txBox="1"/>
          <p:nvPr/>
        </p:nvSpPr>
        <p:spPr>
          <a:xfrm>
            <a:off x="1728788" y="4429124"/>
            <a:ext cx="4329112" cy="1477328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{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…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en-US" sz="1600" dirty="0" smtClean="0">
                <a:solidFill>
                  <a:srgbClr val="AF235F"/>
                </a:solidFill>
              </a:rPr>
              <a:t>“name”</a:t>
            </a:r>
            <a:r>
              <a:rPr lang="en-US" sz="1600" dirty="0" smtClean="0">
                <a:solidFill>
                  <a:srgbClr val="871E50"/>
                </a:solidFill>
              </a:rPr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dirty="0" smtClean="0">
                <a:solidFill>
                  <a:srgbClr val="2387AA"/>
                </a:solidFill>
              </a:rPr>
              <a:t>“</a:t>
            </a:r>
            <a:r>
              <a:rPr lang="en-US" sz="1600" dirty="0" err="1" smtClean="0">
                <a:solidFill>
                  <a:srgbClr val="2387AA"/>
                </a:solidFill>
              </a:rPr>
              <a:t>MyVersionThing</a:t>
            </a:r>
            <a:r>
              <a:rPr lang="en-US" sz="1600" dirty="0" smtClean="0">
                <a:solidFill>
                  <a:srgbClr val="2387AA"/>
                </a:solidFill>
              </a:rPr>
              <a:t>”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en-US" sz="1600" dirty="0" smtClean="0">
                <a:solidFill>
                  <a:srgbClr val="AF235F"/>
                </a:solidFill>
              </a:rPr>
              <a:t>“version”</a:t>
            </a:r>
            <a:r>
              <a:rPr lang="en-US" sz="1600" dirty="0" smtClean="0">
                <a:solidFill>
                  <a:schemeClr val="bg1"/>
                </a:solidFill>
              </a:rPr>
              <a:t> : { },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…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umma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b="0" i="1" dirty="0" err="1" smtClean="0"/>
              <a:t>Which</a:t>
            </a:r>
            <a:r>
              <a:rPr lang="de-DE" b="0" i="1" dirty="0" smtClean="0"/>
              <a:t> </a:t>
            </a:r>
            <a:r>
              <a:rPr lang="de-DE" b="0" i="1" dirty="0" err="1" smtClean="0"/>
              <a:t>roles</a:t>
            </a:r>
            <a:r>
              <a:rPr lang="de-DE" b="0" i="1" dirty="0" smtClean="0"/>
              <a:t> </a:t>
            </a:r>
            <a:r>
              <a:rPr lang="de-DE" b="0" i="1" dirty="0" err="1" smtClean="0"/>
              <a:t>are</a:t>
            </a:r>
            <a:r>
              <a:rPr lang="de-DE" b="0" i="1" dirty="0" smtClean="0"/>
              <a:t> </a:t>
            </a:r>
            <a:r>
              <a:rPr lang="de-DE" b="0" i="1" dirty="0" err="1" smtClean="0"/>
              <a:t>important</a:t>
            </a:r>
            <a:r>
              <a:rPr lang="de-DE" b="0" i="1" dirty="0" smtClean="0"/>
              <a:t> an </a:t>
            </a:r>
            <a:r>
              <a:rPr lang="de-DE" b="0" i="1" dirty="0" err="1" smtClean="0"/>
              <a:t>how</a:t>
            </a:r>
            <a:r>
              <a:rPr lang="de-DE" b="0" i="1" dirty="0" smtClean="0"/>
              <a:t> </a:t>
            </a:r>
            <a:r>
              <a:rPr lang="de-DE" b="0" i="1" dirty="0" err="1" smtClean="0"/>
              <a:t>to</a:t>
            </a:r>
            <a:r>
              <a:rPr lang="de-DE" b="0" i="1" dirty="0" smtClean="0"/>
              <a:t> </a:t>
            </a:r>
            <a:r>
              <a:rPr lang="de-DE" b="0" i="1" dirty="0" err="1" smtClean="0"/>
              <a:t>group</a:t>
            </a:r>
            <a:r>
              <a:rPr lang="de-DE" b="0" i="1" dirty="0" smtClean="0"/>
              <a:t> </a:t>
            </a:r>
            <a:r>
              <a:rPr lang="de-DE" b="0" i="1" dirty="0" err="1" smtClean="0"/>
              <a:t>them</a:t>
            </a:r>
            <a:r>
              <a:rPr lang="de-DE" b="0" i="1" dirty="0" smtClean="0"/>
              <a:t>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How to summarize interacting roles?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Grouping by issuer of TD change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Resulting roles:</a:t>
            </a:r>
          </a:p>
          <a:p>
            <a:pPr lvl="3">
              <a:buFont typeface="Arial" pitchFamily="34" charset="0"/>
              <a:buChar char="•"/>
            </a:pPr>
            <a:r>
              <a:rPr lang="en-US" sz="2400" dirty="0" smtClean="0"/>
              <a:t>“User” and “Builder”</a:t>
            </a:r>
          </a:p>
          <a:p>
            <a:pPr lvl="3">
              <a:buFont typeface="Arial" pitchFamily="34" charset="0"/>
              <a:buChar char="•"/>
            </a:pPr>
            <a:endParaRPr lang="en-US" sz="2400" dirty="0" smtClean="0"/>
          </a:p>
          <a:p>
            <a:pPr lvl="3">
              <a:buFont typeface="Arial" pitchFamily="34" charset="0"/>
              <a:buChar char="•"/>
            </a:pPr>
            <a:r>
              <a:rPr lang="en-US" sz="2400" dirty="0" smtClean="0"/>
              <a:t>User role: All changes on the Thing resulting in a change of the TD issued by the user or for the user</a:t>
            </a:r>
          </a:p>
          <a:p>
            <a:pPr lvl="3">
              <a:buFont typeface="Arial" pitchFamily="34" charset="0"/>
              <a:buChar char="•"/>
            </a:pPr>
            <a:endParaRPr lang="en-US" sz="2400" dirty="0" smtClean="0"/>
          </a:p>
          <a:p>
            <a:pPr lvl="3">
              <a:buFont typeface="Arial" pitchFamily="34" charset="0"/>
              <a:buChar char="•"/>
            </a:pPr>
            <a:r>
              <a:rPr lang="en-US" sz="2400" dirty="0" smtClean="0"/>
              <a:t>Builder role: All changes of the Thing before it is in operation at the end user, but including updates/patch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sioned Thing Description</a:t>
            </a:r>
            <a:br>
              <a:rPr lang="en-US" dirty="0" smtClean="0"/>
            </a:br>
            <a:r>
              <a:rPr lang="en-US" b="0" i="1" dirty="0" smtClean="0"/>
              <a:t>How to express the version information in the Thing Description?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Several requirements for version information:</a:t>
            </a:r>
          </a:p>
          <a:p>
            <a:pPr marL="638175" lvl="2" indent="-457200">
              <a:buFont typeface="+mj-lt"/>
              <a:buAutoNum type="arabicPeriod"/>
            </a:pPr>
            <a:r>
              <a:rPr lang="en-US" sz="2400" dirty="0" smtClean="0"/>
              <a:t>Unambiguous identification</a:t>
            </a:r>
          </a:p>
          <a:p>
            <a:pPr marL="638175" lvl="2" indent="-457200">
              <a:buFont typeface="+mj-lt"/>
              <a:buAutoNum type="arabicPeriod"/>
            </a:pPr>
            <a:r>
              <a:rPr lang="en-US" sz="2400" dirty="0" smtClean="0"/>
              <a:t>Type of change (Patch / Update / Upgrade)</a:t>
            </a:r>
          </a:p>
          <a:p>
            <a:pPr marL="638175" lvl="2" indent="-457200">
              <a:buFont typeface="+mj-lt"/>
              <a:buAutoNum type="arabicPeriod"/>
            </a:pPr>
            <a:r>
              <a:rPr lang="en-US" sz="2400" dirty="0" smtClean="0"/>
              <a:t>Human readability</a:t>
            </a:r>
          </a:p>
          <a:p>
            <a:pPr marL="638175" lvl="2" indent="-457200">
              <a:buFont typeface="+mj-lt"/>
              <a:buAutoNum type="arabicPeriod"/>
            </a:pPr>
            <a:endParaRPr lang="en-US" sz="2400" dirty="0" smtClean="0"/>
          </a:p>
          <a:p>
            <a:pPr marL="185738" lvl="1" indent="-184150"/>
            <a:r>
              <a:rPr lang="en-US" sz="2400" dirty="0" smtClean="0"/>
              <a:t>Our proposed solution: Combination of hash versioning for unambiguous identification of version and semantic versioning for human readability and type of chan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sioned Thing Description</a:t>
            </a:r>
            <a:br>
              <a:rPr lang="en-US" dirty="0" smtClean="0"/>
            </a:br>
            <a:r>
              <a:rPr lang="en-US" b="0" i="1" dirty="0" smtClean="0"/>
              <a:t>Our proposal for a versioned Thing Description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endParaRPr lang="en-US" sz="2400" dirty="0" smtClean="0"/>
          </a:p>
          <a:p>
            <a:pPr lvl="1">
              <a:buNone/>
            </a:pP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Semantic version: Corresponding digit is increased on each Patch / Update / Upgrade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Hash version: Hash whole TD (with sem. Version, but empty hash entries)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957271" y="1485906"/>
            <a:ext cx="4329112" cy="2462213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{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…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en-US" sz="1600" dirty="0" smtClean="0">
                <a:solidFill>
                  <a:srgbClr val="AF235F"/>
                </a:solidFill>
              </a:rPr>
              <a:t>“name”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en-US" sz="1600" dirty="0" smtClean="0">
                <a:solidFill>
                  <a:srgbClr val="2387AA"/>
                </a:solidFill>
              </a:rPr>
              <a:t>“</a:t>
            </a:r>
            <a:r>
              <a:rPr lang="en-US" sz="1600" dirty="0" err="1" smtClean="0">
                <a:solidFill>
                  <a:srgbClr val="2387AA"/>
                </a:solidFill>
              </a:rPr>
              <a:t>MyVersionThing</a:t>
            </a:r>
            <a:r>
              <a:rPr lang="en-US" sz="1600" dirty="0" smtClean="0">
                <a:solidFill>
                  <a:srgbClr val="2387AA"/>
                </a:solidFill>
              </a:rPr>
              <a:t>”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</a:t>
            </a:r>
            <a:r>
              <a:rPr lang="en-US" sz="1600" dirty="0" smtClean="0">
                <a:solidFill>
                  <a:srgbClr val="AF235F"/>
                </a:solidFill>
              </a:rPr>
              <a:t>“version” </a:t>
            </a:r>
            <a:r>
              <a:rPr lang="en-US" sz="1600" dirty="0" smtClean="0">
                <a:solidFill>
                  <a:schemeClr val="bg1"/>
                </a:solidFill>
              </a:rPr>
              <a:t>: {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rgbClr val="AF235F"/>
                </a:solidFill>
              </a:rPr>
              <a:t>“instance”</a:t>
            </a:r>
            <a:r>
              <a:rPr lang="en-US" sz="1600" dirty="0" smtClean="0">
                <a:solidFill>
                  <a:schemeClr val="bg1"/>
                </a:solidFill>
              </a:rPr>
              <a:t> : </a:t>
            </a:r>
            <a:r>
              <a:rPr lang="en-US" sz="1600" dirty="0" smtClean="0">
                <a:solidFill>
                  <a:srgbClr val="2387AA"/>
                </a:solidFill>
              </a:rPr>
              <a:t>“1.0.1”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rgbClr val="AF235F"/>
                </a:solidFill>
              </a:rPr>
              <a:t>“</a:t>
            </a:r>
            <a:r>
              <a:rPr lang="en-US" sz="1600" dirty="0" err="1" smtClean="0">
                <a:solidFill>
                  <a:srgbClr val="AF235F"/>
                </a:solidFill>
              </a:rPr>
              <a:t>userlc</a:t>
            </a:r>
            <a:r>
              <a:rPr lang="en-US" sz="1600" dirty="0" smtClean="0">
                <a:solidFill>
                  <a:srgbClr val="AF235F"/>
                </a:solidFill>
              </a:rPr>
              <a:t>”</a:t>
            </a:r>
            <a:r>
              <a:rPr lang="en-US" sz="1600" dirty="0" smtClean="0">
                <a:solidFill>
                  <a:schemeClr val="bg1"/>
                </a:solidFill>
              </a:rPr>
              <a:t> : </a:t>
            </a:r>
            <a:r>
              <a:rPr lang="en-US" sz="1600" dirty="0" smtClean="0">
                <a:solidFill>
                  <a:srgbClr val="2387AA"/>
                </a:solidFill>
              </a:rPr>
              <a:t>“2fd4e1...eb12”</a:t>
            </a:r>
            <a:r>
              <a:rPr lang="en-US" sz="1600" dirty="0" smtClean="0">
                <a:solidFill>
                  <a:schemeClr val="bg1"/>
                </a:solidFill>
              </a:rPr>
              <a:t>,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rgbClr val="AF235F"/>
                </a:solidFill>
              </a:rPr>
              <a:t>“</a:t>
            </a:r>
            <a:r>
              <a:rPr lang="en-US" sz="1600" dirty="0" err="1" smtClean="0">
                <a:solidFill>
                  <a:srgbClr val="AF235F"/>
                </a:solidFill>
              </a:rPr>
              <a:t>builderlc</a:t>
            </a:r>
            <a:r>
              <a:rPr lang="en-US" sz="1600" dirty="0" smtClean="0">
                <a:solidFill>
                  <a:srgbClr val="AF235F"/>
                </a:solidFill>
              </a:rPr>
              <a:t>”</a:t>
            </a:r>
            <a:r>
              <a:rPr lang="en-US" sz="1600" dirty="0" smtClean="0">
                <a:solidFill>
                  <a:schemeClr val="bg1"/>
                </a:solidFill>
              </a:rPr>
              <a:t> : </a:t>
            </a:r>
            <a:r>
              <a:rPr lang="en-US" sz="1600" dirty="0" smtClean="0">
                <a:solidFill>
                  <a:srgbClr val="2387AA"/>
                </a:solidFill>
              </a:rPr>
              <a:t>“de9f2c...b4b3”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} 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…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}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utlook</a:t>
            </a:r>
            <a:br>
              <a:rPr lang="de-DE" dirty="0" smtClean="0"/>
            </a:br>
            <a:r>
              <a:rPr lang="de-DE" b="0" i="1" dirty="0" err="1" smtClean="0"/>
              <a:t>What</a:t>
            </a:r>
            <a:r>
              <a:rPr lang="de-DE" b="0" i="1" dirty="0" smtClean="0"/>
              <a:t> </a:t>
            </a:r>
            <a:r>
              <a:rPr lang="de-DE" b="0" i="1" dirty="0" err="1" smtClean="0"/>
              <a:t>is</a:t>
            </a:r>
            <a:r>
              <a:rPr lang="de-DE" b="0" i="1" dirty="0" smtClean="0"/>
              <a:t> still </a:t>
            </a:r>
            <a:r>
              <a:rPr lang="de-DE" b="0" i="1" dirty="0" err="1" smtClean="0"/>
              <a:t>missing</a:t>
            </a:r>
            <a:r>
              <a:rPr lang="de-DE" b="0" i="1" dirty="0" smtClean="0"/>
              <a:t>?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627063" y="1557337"/>
            <a:ext cx="6959600" cy="4643437"/>
          </a:xfrm>
        </p:spPr>
        <p:txBody>
          <a:bodyPr/>
          <a:lstStyle/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Security issues: Unambiguous identification of Things’ versions allows easy attacks on known vulnerable systems</a:t>
            </a:r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Drive idea in </a:t>
            </a:r>
            <a:r>
              <a:rPr lang="en-US" sz="2400" dirty="0" err="1" smtClean="0"/>
              <a:t>WoT</a:t>
            </a:r>
            <a:r>
              <a:rPr lang="en-US" sz="2400" dirty="0" smtClean="0"/>
              <a:t> Working Group to get Feedback and integrate versioning into TD</a:t>
            </a:r>
            <a:endParaRPr lang="en-US" sz="2400" dirty="0"/>
          </a:p>
        </p:txBody>
      </p:sp>
      <p:pic>
        <p:nvPicPr>
          <p:cNvPr id="339973" name="Picture 5"/>
          <p:cNvPicPr>
            <a:picLocks noChangeAspect="1" noChangeArrowheads="1"/>
          </p:cNvPicPr>
          <p:nvPr/>
        </p:nvPicPr>
        <p:blipFill>
          <a:blip r:embed="rId2"/>
          <a:srcRect l="18122" r="20098"/>
          <a:stretch>
            <a:fillRect/>
          </a:stretch>
        </p:blipFill>
        <p:spPr bwMode="auto">
          <a:xfrm>
            <a:off x="7684407" y="1553030"/>
            <a:ext cx="4513943" cy="4651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for your attention!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>
              <a:tabLst>
                <a:tab pos="806450" algn="l"/>
              </a:tabLst>
              <a:defRPr/>
            </a:pPr>
            <a:r>
              <a:rPr lang="en-US" b="1" dirty="0"/>
              <a:t>Name: 		</a:t>
            </a:r>
            <a:r>
              <a:rPr lang="en-US" b="1" dirty="0" smtClean="0"/>
              <a:t>Michele Blank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Role: 		</a:t>
            </a:r>
            <a:r>
              <a:rPr lang="en-US" dirty="0" smtClean="0"/>
              <a:t>PhD Candidat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rg-ID: 	</a:t>
            </a:r>
            <a:r>
              <a:rPr lang="en-US" dirty="0" smtClean="0"/>
              <a:t>CT </a:t>
            </a:r>
            <a:r>
              <a:rPr lang="en-US" dirty="0"/>
              <a:t>RDA </a:t>
            </a:r>
            <a:r>
              <a:rPr lang="en-US" dirty="0" smtClean="0"/>
              <a:t>NEC WOS-DE</a:t>
            </a:r>
            <a:endParaRPr lang="en-US" dirty="0"/>
          </a:p>
          <a:p>
            <a:pPr lvl="0">
              <a:tabLst>
                <a:tab pos="806450" algn="l"/>
              </a:tabLst>
              <a:defRPr/>
            </a:pPr>
            <a:endParaRPr lang="en-US" dirty="0"/>
          </a:p>
          <a:p>
            <a:pPr lvl="0">
              <a:spcAft>
                <a:spcPts val="0"/>
              </a:spcAft>
              <a:tabLst>
                <a:tab pos="806450" algn="l"/>
              </a:tabLst>
              <a:defRPr/>
            </a:pPr>
            <a:r>
              <a:rPr lang="en-US" dirty="0" smtClean="0"/>
              <a:t>Address: </a:t>
            </a:r>
            <a:r>
              <a:rPr lang="de-DE" dirty="0" smtClean="0"/>
              <a:t>Otto-Hahn-Ring 6</a:t>
            </a:r>
            <a:br>
              <a:rPr lang="de-DE" dirty="0" smtClean="0"/>
            </a:br>
            <a:r>
              <a:rPr lang="de-DE" dirty="0" smtClean="0"/>
              <a:t>		 81739 München </a:t>
            </a:r>
          </a:p>
          <a:p>
            <a:pPr lvl="0">
              <a:spcBef>
                <a:spcPts val="0"/>
              </a:spcBef>
              <a:tabLst>
                <a:tab pos="806450" algn="l"/>
              </a:tabLst>
              <a:defRPr/>
            </a:pPr>
            <a:r>
              <a:rPr lang="de-DE" dirty="0" smtClean="0"/>
              <a:t>		 Germany</a:t>
            </a:r>
            <a:br>
              <a:rPr lang="de-DE" dirty="0" smtClean="0"/>
            </a:br>
            <a:endParaRPr lang="de-DE" dirty="0" smtClean="0"/>
          </a:p>
          <a:p>
            <a:pPr lvl="0">
              <a:tabLst>
                <a:tab pos="806450" algn="l"/>
              </a:tabLst>
              <a:defRPr/>
            </a:pPr>
            <a:r>
              <a:rPr lang="de-DE" dirty="0" smtClean="0"/>
              <a:t>Tel.: 		+49 89 636634755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pPr lvl="0">
              <a:tabLst>
                <a:tab pos="806450" algn="l"/>
              </a:tabLst>
              <a:defRPr/>
            </a:pPr>
            <a:r>
              <a:rPr lang="en-US" dirty="0"/>
              <a:t>E-mail:	</a:t>
            </a:r>
            <a:r>
              <a:rPr lang="en-US" dirty="0" smtClean="0"/>
              <a:t>	michele.blank@siemens.com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pic>
        <p:nvPicPr>
          <p:cNvPr id="9" name="Bildplatzhalter 8" descr="Hauptbild_autofabrik_kombie.jpg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/>
      </p:pic>
      <p:pic>
        <p:nvPicPr>
          <p:cNvPr id="351234" name="Picture 2" descr="IoT 2018 worksho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857435" y="3962503"/>
            <a:ext cx="2270579" cy="2169664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34759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oT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D?</a:t>
            </a:r>
            <a:br>
              <a:rPr lang="de-DE" dirty="0" smtClean="0"/>
            </a:br>
            <a:r>
              <a:rPr lang="de-DE" b="0" i="1" dirty="0" err="1" smtClean="0"/>
              <a:t>Introduction</a:t>
            </a:r>
            <a:r>
              <a:rPr lang="de-DE" b="0" i="1" dirty="0" smtClean="0"/>
              <a:t> </a:t>
            </a:r>
            <a:r>
              <a:rPr lang="de-DE" b="0" i="1" dirty="0" err="1" smtClean="0"/>
              <a:t>to</a:t>
            </a:r>
            <a:r>
              <a:rPr lang="de-DE" b="0" i="1" dirty="0" smtClean="0"/>
              <a:t> </a:t>
            </a:r>
            <a:r>
              <a:rPr lang="de-DE" b="0" i="1" dirty="0" err="1" smtClean="0"/>
              <a:t>the</a:t>
            </a:r>
            <a:r>
              <a:rPr lang="de-DE" b="0" i="1" dirty="0" smtClean="0"/>
              <a:t> W3C Web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Things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the</a:t>
            </a:r>
            <a:r>
              <a:rPr lang="de-DE" b="0" i="1" dirty="0" smtClean="0"/>
              <a:t> Thing Description</a:t>
            </a:r>
            <a:endParaRPr lang="de-DE" b="0" i="1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de-DE" sz="2400" dirty="0" smtClean="0"/>
              <a:t> </a:t>
            </a:r>
            <a:r>
              <a:rPr lang="de-DE" sz="2400" dirty="0" err="1" smtClean="0"/>
              <a:t>What</a:t>
            </a:r>
            <a:r>
              <a:rPr lang="de-DE" sz="2400" dirty="0" smtClean="0"/>
              <a:t> </a:t>
            </a:r>
            <a:r>
              <a:rPr lang="de-DE" sz="2400" dirty="0" err="1" smtClean="0"/>
              <a:t>is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WoT</a:t>
            </a:r>
            <a:r>
              <a:rPr lang="de-DE" sz="2400" dirty="0" smtClean="0"/>
              <a:t> TD?</a:t>
            </a:r>
          </a:p>
          <a:p>
            <a:pPr lvl="2">
              <a:buFont typeface="Arial" pitchFamily="34" charset="0"/>
              <a:buChar char="•"/>
            </a:pPr>
            <a:r>
              <a:rPr lang="de-DE" sz="2400" dirty="0" smtClean="0"/>
              <a:t>W3C Working Group „Web </a:t>
            </a:r>
            <a:r>
              <a:rPr lang="de-DE" sz="2400" dirty="0" err="1" smtClean="0"/>
              <a:t>of</a:t>
            </a:r>
            <a:r>
              <a:rPr lang="de-DE" sz="2400" dirty="0" smtClean="0"/>
              <a:t> Things“</a:t>
            </a:r>
          </a:p>
          <a:p>
            <a:pPr lvl="2">
              <a:buFont typeface="Arial" pitchFamily="34" charset="0"/>
              <a:buChar char="•"/>
            </a:pPr>
            <a:r>
              <a:rPr lang="de-DE" sz="2400" dirty="0" smtClean="0"/>
              <a:t>Goal: </a:t>
            </a:r>
            <a:r>
              <a:rPr lang="de-DE" sz="2400" dirty="0" err="1" smtClean="0"/>
              <a:t>Overcome</a:t>
            </a:r>
            <a:r>
              <a:rPr lang="de-DE" sz="2400" dirty="0" smtClean="0"/>
              <a:t> </a:t>
            </a:r>
            <a:r>
              <a:rPr lang="de-DE" sz="2400" dirty="0" err="1" smtClean="0"/>
              <a:t>IoT</a:t>
            </a:r>
            <a:r>
              <a:rPr lang="de-DE" sz="2400" dirty="0" smtClean="0"/>
              <a:t> </a:t>
            </a:r>
            <a:r>
              <a:rPr lang="de-DE" sz="2400" dirty="0" err="1" smtClean="0"/>
              <a:t>silos</a:t>
            </a:r>
            <a:endParaRPr lang="de-DE" sz="2400" dirty="0" smtClean="0"/>
          </a:p>
          <a:p>
            <a:pPr lvl="2">
              <a:buFont typeface="Arial" pitchFamily="34" charset="0"/>
              <a:buChar char="•"/>
            </a:pPr>
            <a:r>
              <a:rPr lang="de-DE" sz="2400" dirty="0" err="1" smtClean="0"/>
              <a:t>Building</a:t>
            </a:r>
            <a:r>
              <a:rPr lang="de-DE" sz="2400" dirty="0" smtClean="0"/>
              <a:t> </a:t>
            </a:r>
            <a:r>
              <a:rPr lang="de-DE" sz="2400" dirty="0" err="1" smtClean="0"/>
              <a:t>blocks</a:t>
            </a:r>
            <a:r>
              <a:rPr lang="de-DE" sz="2400" dirty="0" smtClean="0"/>
              <a:t>:</a:t>
            </a:r>
            <a:endParaRPr lang="de-DE" sz="2400" dirty="0" smtClean="0"/>
          </a:p>
          <a:p>
            <a:pPr lvl="3">
              <a:buFont typeface="Arial" pitchFamily="34" charset="0"/>
              <a:buChar char="•"/>
            </a:pPr>
            <a:r>
              <a:rPr lang="de-DE" sz="2400" dirty="0" smtClean="0"/>
              <a:t>Thing Description</a:t>
            </a:r>
          </a:p>
          <a:p>
            <a:pPr lvl="3">
              <a:buFont typeface="Arial" pitchFamily="34" charset="0"/>
              <a:buChar char="•"/>
            </a:pPr>
            <a:r>
              <a:rPr lang="de-DE" sz="2400" dirty="0" smtClean="0"/>
              <a:t>Scripting API</a:t>
            </a:r>
          </a:p>
          <a:p>
            <a:pPr lvl="3">
              <a:buFont typeface="Arial" pitchFamily="34" charset="0"/>
              <a:buChar char="•"/>
            </a:pPr>
            <a:r>
              <a:rPr lang="de-DE" sz="2400" dirty="0" smtClean="0"/>
              <a:t>Protocol </a:t>
            </a:r>
            <a:r>
              <a:rPr lang="de-DE" sz="2400" dirty="0" err="1" smtClean="0"/>
              <a:t>Bindings</a:t>
            </a:r>
            <a:endParaRPr lang="de-DE" sz="2400" dirty="0" smtClean="0"/>
          </a:p>
          <a:p>
            <a:pPr lvl="3">
              <a:buFont typeface="Arial" pitchFamily="34" charset="0"/>
              <a:buChar char="•"/>
            </a:pPr>
            <a:endParaRPr lang="de-DE" sz="2400" dirty="0" smtClean="0"/>
          </a:p>
          <a:p>
            <a:pPr lvl="2">
              <a:buFont typeface="Arial" pitchFamily="34" charset="0"/>
              <a:buChar char="•"/>
            </a:pPr>
            <a:r>
              <a:rPr lang="de-DE" sz="2400" dirty="0" smtClean="0"/>
              <a:t>Thing Description:</a:t>
            </a:r>
          </a:p>
          <a:p>
            <a:pPr lvl="3">
              <a:buFont typeface="Arial" pitchFamily="34" charset="0"/>
              <a:buChar char="•"/>
            </a:pPr>
            <a:r>
              <a:rPr lang="de-DE" sz="2400" dirty="0" err="1" smtClean="0"/>
              <a:t>Metadata</a:t>
            </a:r>
            <a:r>
              <a:rPr lang="de-DE" sz="2400" dirty="0" smtClean="0"/>
              <a:t> (Name </a:t>
            </a:r>
            <a:r>
              <a:rPr lang="de-DE" sz="2400" dirty="0" err="1" smtClean="0"/>
              <a:t>of</a:t>
            </a:r>
            <a:r>
              <a:rPr lang="de-DE" sz="2400" dirty="0" smtClean="0"/>
              <a:t> Thing, </a:t>
            </a:r>
            <a:r>
              <a:rPr lang="de-DE" sz="2400" dirty="0" err="1" smtClean="0"/>
              <a:t>Context</a:t>
            </a:r>
            <a:r>
              <a:rPr lang="de-DE" sz="2400" dirty="0" smtClean="0"/>
              <a:t>)</a:t>
            </a:r>
          </a:p>
          <a:p>
            <a:pPr lvl="3">
              <a:buFont typeface="Arial" pitchFamily="34" charset="0"/>
              <a:buChar char="•"/>
            </a:pPr>
            <a:r>
              <a:rPr lang="de-DE" sz="2400" dirty="0" smtClean="0"/>
              <a:t>Interactions </a:t>
            </a:r>
            <a:r>
              <a:rPr lang="de-DE" sz="2400" dirty="0" err="1" smtClean="0"/>
              <a:t>offered</a:t>
            </a:r>
            <a:r>
              <a:rPr lang="de-DE" sz="2400" dirty="0" smtClean="0"/>
              <a:t> </a:t>
            </a:r>
            <a:endParaRPr lang="de-DE" sz="2400" dirty="0"/>
          </a:p>
        </p:txBody>
      </p:sp>
      <p:graphicFrame>
        <p:nvGraphicFramePr>
          <p:cNvPr id="8" name="Inhaltsplatzhalter 5"/>
          <p:cNvGraphicFramePr>
            <a:graphicFrameLocks/>
          </p:cNvGraphicFramePr>
          <p:nvPr/>
        </p:nvGraphicFramePr>
        <p:xfrm>
          <a:off x="6399212" y="1457326"/>
          <a:ext cx="5402262" cy="3086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6843713" y="5657851"/>
            <a:ext cx="27146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[1] https</a:t>
            </a:r>
            <a:r>
              <a:rPr lang="de-DE" sz="1200" dirty="0" smtClean="0">
                <a:solidFill>
                  <a:schemeClr val="tx1"/>
                </a:solidFill>
              </a:rPr>
              <a:t>://www.w3.org/WoT/WG/</a:t>
            </a:r>
            <a:endParaRPr lang="de-DE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hat‘s</a:t>
            </a:r>
            <a:r>
              <a:rPr lang="de-DE" dirty="0" smtClean="0"/>
              <a:t> </a:t>
            </a:r>
            <a:r>
              <a:rPr lang="de-DE" dirty="0" err="1" smtClean="0"/>
              <a:t>missing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draf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TD?</a:t>
            </a:r>
            <a:br>
              <a:rPr lang="de-DE" dirty="0" smtClean="0"/>
            </a:br>
            <a:r>
              <a:rPr lang="de-DE" b="0" i="1" dirty="0" err="1" smtClean="0"/>
              <a:t>What</a:t>
            </a:r>
            <a:r>
              <a:rPr lang="de-DE" b="0" i="1" dirty="0" smtClean="0"/>
              <a:t> </a:t>
            </a:r>
            <a:r>
              <a:rPr lang="de-DE" b="0" i="1" dirty="0" err="1" smtClean="0"/>
              <a:t>happens</a:t>
            </a:r>
            <a:r>
              <a:rPr lang="de-DE" b="0" i="1" dirty="0" smtClean="0"/>
              <a:t> </a:t>
            </a:r>
            <a:r>
              <a:rPr lang="de-DE" b="0" i="1" dirty="0" err="1" smtClean="0"/>
              <a:t>when</a:t>
            </a:r>
            <a:r>
              <a:rPr lang="de-DE" b="0" i="1" dirty="0" smtClean="0"/>
              <a:t> </a:t>
            </a:r>
            <a:r>
              <a:rPr lang="de-DE" b="0" i="1" dirty="0" err="1" smtClean="0"/>
              <a:t>the</a:t>
            </a:r>
            <a:r>
              <a:rPr lang="de-DE" b="0" i="1" dirty="0" smtClean="0"/>
              <a:t> TD </a:t>
            </a:r>
            <a:r>
              <a:rPr lang="de-DE" b="0" i="1" dirty="0" err="1" smtClean="0"/>
              <a:t>changes</a:t>
            </a:r>
            <a:r>
              <a:rPr lang="de-DE" b="0" i="1" dirty="0" smtClean="0"/>
              <a:t>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Examples of Things having a TD: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Mobile robot platform in Industry4.0 scenario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Gantry in production line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Conveyor in package processing</a:t>
            </a:r>
          </a:p>
          <a:p>
            <a:pPr lvl="2">
              <a:buFont typeface="Arial" pitchFamily="34" charset="0"/>
              <a:buChar char="•"/>
            </a:pPr>
            <a:r>
              <a:rPr lang="en-US" sz="2400" dirty="0" smtClean="0"/>
              <a:t>Smart HVAC System</a:t>
            </a:r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None/>
            </a:pPr>
            <a:r>
              <a:rPr lang="en-US" sz="2400" dirty="0" smtClean="0"/>
              <a:t>→ All together have changes with regard to their</a:t>
            </a:r>
          </a:p>
          <a:p>
            <a:pPr lvl="2">
              <a:buNone/>
            </a:pPr>
            <a:r>
              <a:rPr lang="en-US" sz="2400" dirty="0" smtClean="0"/>
              <a:t>     metadata and interactions during their lifetime.</a:t>
            </a:r>
          </a:p>
          <a:p>
            <a:pPr lvl="2">
              <a:buNone/>
            </a:pPr>
            <a:endParaRPr lang="en-US" sz="2400" dirty="0" smtClean="0"/>
          </a:p>
          <a:p>
            <a:pPr lvl="2">
              <a:buNone/>
            </a:pPr>
            <a:r>
              <a:rPr lang="en-US" sz="2400" dirty="0" smtClean="0"/>
              <a:t>But the TD is of static nature so far, changes in the TD and how to handle them isn’t covered in draft recommendation</a:t>
            </a:r>
          </a:p>
          <a:p>
            <a:pPr lvl="2">
              <a:buFont typeface="Arial" pitchFamily="34" charset="0"/>
              <a:buChar char="•"/>
            </a:pPr>
            <a:endParaRPr lang="en-US" sz="2400" dirty="0" smtClean="0"/>
          </a:p>
          <a:p>
            <a:pPr lvl="2">
              <a:buFont typeface="Arial" pitchFamily="34" charset="0"/>
              <a:buChar char="•"/>
            </a:pPr>
            <a:endParaRPr lang="en-US" sz="2400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7623844" y="1228726"/>
            <a:ext cx="1135531" cy="1298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59980"/>
          <a:stretch>
            <a:fillRect/>
          </a:stretch>
        </p:blipFill>
        <p:spPr bwMode="auto">
          <a:xfrm>
            <a:off x="7841873" y="3648769"/>
            <a:ext cx="3727832" cy="808926"/>
          </a:xfrm>
          <a:prstGeom prst="rect">
            <a:avLst/>
          </a:prstGeom>
          <a:noFill/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2799" y="2057147"/>
            <a:ext cx="1214301" cy="1134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Eine Ecke des Rechtecks schneiden 8"/>
          <p:cNvSpPr/>
          <p:nvPr/>
        </p:nvSpPr>
        <p:spPr bwMode="auto">
          <a:xfrm>
            <a:off x="8596312" y="1409701"/>
            <a:ext cx="528638" cy="600074"/>
          </a:xfrm>
          <a:prstGeom prst="snip1Rect">
            <a:avLst>
              <a:gd name="adj" fmla="val 23050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  TD</a:t>
            </a: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10" name="Eine Ecke des Rechtecks schneiden 9"/>
          <p:cNvSpPr/>
          <p:nvPr/>
        </p:nvSpPr>
        <p:spPr bwMode="auto">
          <a:xfrm>
            <a:off x="10963274" y="2619376"/>
            <a:ext cx="528638" cy="600074"/>
          </a:xfrm>
          <a:prstGeom prst="snip1Rect">
            <a:avLst>
              <a:gd name="adj" fmla="val 23050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  TD</a:t>
            </a: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11" name="Eine Ecke des Rechtecks schneiden 10"/>
          <p:cNvSpPr/>
          <p:nvPr/>
        </p:nvSpPr>
        <p:spPr bwMode="auto">
          <a:xfrm>
            <a:off x="11206162" y="3562351"/>
            <a:ext cx="528638" cy="600074"/>
          </a:xfrm>
          <a:prstGeom prst="snip1Rect">
            <a:avLst>
              <a:gd name="adj" fmla="val 23050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t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  TD</a:t>
            </a:r>
            <a:endParaRPr lang="de-DE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uppieren 88"/>
          <p:cNvGrpSpPr/>
          <p:nvPr/>
        </p:nvGrpSpPr>
        <p:grpSpPr>
          <a:xfrm rot="135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 </a:t>
            </a:r>
            <a:r>
              <a:rPr lang="en-US" b="1" i="1" dirty="0" smtClean="0">
                <a:solidFill>
                  <a:srgbClr val="00646E"/>
                </a:solidFill>
              </a:rPr>
              <a:t>Planning 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Requirements defini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Functional descrip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Draft Design</a:t>
            </a:r>
            <a:endParaRPr lang="en-US" sz="1200" dirty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4311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is creat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Basic information is added, e.g. manufacturer nam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2410751" y="1782694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 223"/>
          <p:cNvGrpSpPr>
            <a:grpSpLocks noChangeAspect="1"/>
          </p:cNvGrpSpPr>
          <p:nvPr/>
        </p:nvGrpSpPr>
        <p:grpSpPr>
          <a:xfrm>
            <a:off x="1419566" y="1791208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1488020" y="4024765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906891" y="2400471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3084648" y="3332555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779647" y="3303342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2414654" y="3996578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0087" y="2417004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Custom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Business Administra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Architects</a:t>
            </a:r>
            <a:endParaRPr lang="en-US" sz="1200" dirty="0">
              <a:solidFill>
                <a:srgbClr val="0064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108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Design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Final Architecture and Concept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mplementation and Building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Prototyping and Testing</a:t>
            </a:r>
            <a:endParaRPr lang="en-US" sz="1200" dirty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are added or complet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issing metadata and security information add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RTM version of T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1524926" y="1754119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790916" y="2400808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2459570" y="3977140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878316" y="3286296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3094173" y="2418155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1436872" y="3979617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3071879" y="3348878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3337" y="1759779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oftware Engine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Hardware Engine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est Manage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81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Manufacturing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Produc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Calibration and Tuning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Quality Control and Patches</a:t>
            </a:r>
            <a:endParaRPr lang="en-US" sz="1200" dirty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D is now individual instance of RTM T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Added support informa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820076" y="2392294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781391" y="3334258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3078695" y="3310390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1506966" y="3943521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2455998" y="1760930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2427472" y="3951042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3062354" y="2472578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7512" y="1731204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Product Quality Superviso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Calibration Equipment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54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Installation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Commissioning 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ecurity Provisioning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Configuration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etadata about installation might be add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’s HREFs might chang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teractions may change depending on configuration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820076" y="3306694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1419566" y="4010533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3050120" y="2415040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2545191" y="3953046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1493973" y="1779980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3065647" y="3265242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2424179" y="1796303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137" y="2397954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ystem Integrato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Installe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 rot="2700000"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Operation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is in Us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interacts wit other Thing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is stabl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1405864" y="3978206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2362541" y="4010533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2435757" y="1814965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3145266" y="3267246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836748" y="2394343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3037072" y="2393704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1495492" y="1796303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713" y="3340930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s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aintenance Enginee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88"/>
          <p:cNvGrpSpPr/>
          <p:nvPr/>
        </p:nvGrpSpPr>
        <p:grpSpPr>
          <a:xfrm>
            <a:off x="363816" y="1295479"/>
            <a:ext cx="3498469" cy="3497201"/>
            <a:chOff x="363816" y="1295479"/>
            <a:chExt cx="3498469" cy="3497201"/>
          </a:xfrm>
        </p:grpSpPr>
        <p:grpSp>
          <p:nvGrpSpPr>
            <p:cNvPr id="4" name="Gruppieren 41"/>
            <p:cNvGrpSpPr/>
            <p:nvPr/>
          </p:nvGrpSpPr>
          <p:grpSpPr>
            <a:xfrm>
              <a:off x="363816" y="1295479"/>
              <a:ext cx="3498469" cy="3497201"/>
              <a:chOff x="3609422" y="1677316"/>
              <a:chExt cx="3498469" cy="3497201"/>
            </a:xfrm>
          </p:grpSpPr>
          <p:sp>
            <p:nvSpPr>
              <p:cNvPr id="115" name="Oval 114"/>
              <p:cNvSpPr/>
              <p:nvPr/>
            </p:nvSpPr>
            <p:spPr bwMode="auto">
              <a:xfrm rot="16800000">
                <a:off x="3755204" y="1819549"/>
                <a:ext cx="3200400" cy="3200400"/>
              </a:xfrm>
              <a:prstGeom prst="ellipse">
                <a:avLst/>
              </a:prstGeom>
              <a:noFill/>
              <a:ln w="254000">
                <a:gradFill>
                  <a:gsLst>
                    <a:gs pos="46000">
                      <a:srgbClr val="00646E"/>
                    </a:gs>
                    <a:gs pos="56000">
                      <a:srgbClr val="41AAAA"/>
                    </a:gs>
                  </a:gsLst>
                  <a:lin ang="4800000" scaled="0"/>
                </a:gradFill>
              </a:ln>
              <a:effectLst/>
              <a:extLst/>
            </p:spPr>
            <p:txBody>
              <a:bodyPr rot="0" spcFirstLastPara="0" vertOverflow="overflow" horzOverflow="overflow" vert="horz" wrap="square" lIns="91477" tIns="182953" rIns="228691" bIns="54886" numCol="1" spcCol="72029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err="1">
                  <a:solidFill>
                    <a:srgbClr val="005F87"/>
                  </a:solidFill>
                  <a:latin typeface="Arial"/>
                </a:endParaRPr>
              </a:p>
            </p:txBody>
          </p:sp>
          <p:sp>
            <p:nvSpPr>
              <p:cNvPr id="116" name="Round Single Corner Rectangle 115"/>
              <p:cNvSpPr/>
              <p:nvPr/>
            </p:nvSpPr>
            <p:spPr bwMode="auto">
              <a:xfrm>
                <a:off x="5328876" y="1677316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ound Single Corner Rectangle 116"/>
              <p:cNvSpPr/>
              <p:nvPr/>
            </p:nvSpPr>
            <p:spPr bwMode="auto">
              <a:xfrm>
                <a:off x="5328876" y="4870928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ound Single Corner Rectangle 116"/>
              <p:cNvSpPr/>
              <p:nvPr/>
            </p:nvSpPr>
            <p:spPr bwMode="auto">
              <a:xfrm rot="5400000">
                <a:off x="6883823" y="3231105"/>
                <a:ext cx="72000" cy="376136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 Single Corner Rectangle 116"/>
              <p:cNvSpPr/>
              <p:nvPr/>
            </p:nvSpPr>
            <p:spPr bwMode="auto">
              <a:xfrm rot="5400000">
                <a:off x="3723596" y="3282589"/>
                <a:ext cx="73152" cy="274320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 Single Corner Rectangle 115"/>
              <p:cNvSpPr/>
              <p:nvPr/>
            </p:nvSpPr>
            <p:spPr bwMode="auto">
              <a:xfrm rot="2700000">
                <a:off x="5317942" y="1694793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ound Single Corner Rectangle 115"/>
              <p:cNvSpPr/>
              <p:nvPr/>
            </p:nvSpPr>
            <p:spPr bwMode="auto">
              <a:xfrm rot="-2700000">
                <a:off x="5339718" y="1686425"/>
                <a:ext cx="71052" cy="3488092"/>
              </a:xfrm>
              <a:prstGeom prst="round1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5" name="Round Single Corner Rectangle 115"/>
            <p:cNvSpPr/>
            <p:nvPr/>
          </p:nvSpPr>
          <p:spPr bwMode="auto">
            <a:xfrm rot="2700000">
              <a:off x="1103947" y="3675169"/>
              <a:ext cx="72000" cy="697441"/>
            </a:xfrm>
            <a:prstGeom prst="round1Rect">
              <a:avLst/>
            </a:prstGeom>
            <a:gradFill>
              <a:gsLst>
                <a:gs pos="0">
                  <a:srgbClr val="4BB9B9"/>
                </a:gs>
                <a:gs pos="50000">
                  <a:srgbClr val="00646E"/>
                </a:gs>
              </a:gsLst>
              <a:lin ang="2700000" scaled="0"/>
            </a:gra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197"/>
          <p:cNvGrpSpPr/>
          <p:nvPr/>
        </p:nvGrpSpPr>
        <p:grpSpPr>
          <a:xfrm>
            <a:off x="736149" y="1666312"/>
            <a:ext cx="2747298" cy="2743200"/>
            <a:chOff x="2436486" y="2509676"/>
            <a:chExt cx="2747298" cy="2743200"/>
          </a:xfrm>
        </p:grpSpPr>
        <p:sp>
          <p:nvSpPr>
            <p:cNvPr id="199" name="Ellipse 368"/>
            <p:cNvSpPr/>
            <p:nvPr/>
          </p:nvSpPr>
          <p:spPr bwMode="gray">
            <a:xfrm>
              <a:off x="2852139" y="2966428"/>
              <a:ext cx="1860137" cy="1860136"/>
            </a:xfrm>
            <a:prstGeom prst="ellipse">
              <a:avLst/>
            </a:prstGeom>
            <a:solidFill>
              <a:srgbClr val="4BB9B9"/>
            </a:solidFill>
            <a:ln w="9525">
              <a:solidFill>
                <a:srgbClr val="41AAC8"/>
              </a:solidFill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en-US" sz="1400" b="1" dirty="0">
                <a:solidFill>
                  <a:schemeClr val="lt1"/>
                </a:solidFill>
              </a:endParaRPr>
            </a:p>
          </p:txBody>
        </p:sp>
        <p:pic>
          <p:nvPicPr>
            <p:cNvPr id="200" name="Picture 1"/>
            <p:cNvPicPr>
              <a:picLocks noChangeAspect="1"/>
            </p:cNvPicPr>
            <p:nvPr/>
          </p:nvPicPr>
          <p:blipFill rotWithShape="1">
            <a:blip r:embed="rId2" cstate="screen">
              <a:alphaModFix amt="30000"/>
              <a:duotone>
                <a:prstClr val="black"/>
                <a:srgbClr val="41AAA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16748" t="6608" r="13335" b="258"/>
            <a:stretch/>
          </p:blipFill>
          <p:spPr bwMode="gray">
            <a:xfrm>
              <a:off x="2436486" y="2509676"/>
              <a:ext cx="2747298" cy="2743200"/>
            </a:xfrm>
            <a:prstGeom prst="ellipse">
              <a:avLst/>
            </a:prstGeom>
            <a:effectLst>
              <a:softEdge rad="635000"/>
            </a:effectLst>
          </p:spPr>
        </p:pic>
        <p:sp>
          <p:nvSpPr>
            <p:cNvPr id="202" name="Rectangle 110"/>
            <p:cNvSpPr/>
            <p:nvPr/>
          </p:nvSpPr>
          <p:spPr bwMode="gray">
            <a:xfrm>
              <a:off x="3169582" y="3450390"/>
              <a:ext cx="1281120" cy="86177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Lifecycle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latin typeface="+mj-lt"/>
                  <a:ea typeface="Siemens Sans Roman" charset="0"/>
                  <a:cs typeface="Siemens Sans Roman" charset="0"/>
                </a:rPr>
                <a:t>Pha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Lifecycl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Thing</a:t>
            </a:r>
            <a:br>
              <a:rPr lang="de-DE" dirty="0" smtClean="0"/>
            </a:br>
            <a:r>
              <a:rPr lang="de-DE" b="0" i="1" dirty="0" err="1" smtClean="0"/>
              <a:t>Phases</a:t>
            </a:r>
            <a:r>
              <a:rPr lang="de-DE" b="0" i="1" dirty="0" smtClean="0"/>
              <a:t> in </a:t>
            </a:r>
            <a:r>
              <a:rPr lang="de-DE" b="0" i="1" dirty="0" err="1" smtClean="0"/>
              <a:t>life</a:t>
            </a:r>
            <a:r>
              <a:rPr lang="de-DE" b="0" i="1" dirty="0" smtClean="0"/>
              <a:t> </a:t>
            </a:r>
            <a:r>
              <a:rPr lang="de-DE" b="0" i="1" dirty="0" err="1" smtClean="0"/>
              <a:t>of</a:t>
            </a:r>
            <a:r>
              <a:rPr lang="de-DE" b="0" i="1" dirty="0" smtClean="0"/>
              <a:t> a Thing </a:t>
            </a:r>
            <a:r>
              <a:rPr lang="de-DE" b="0" i="1" dirty="0" err="1" smtClean="0"/>
              <a:t>and</a:t>
            </a:r>
            <a:r>
              <a:rPr lang="de-DE" b="0" i="1" dirty="0" smtClean="0"/>
              <a:t> </a:t>
            </a:r>
            <a:r>
              <a:rPr lang="de-DE" b="0" i="1" dirty="0" err="1" smtClean="0"/>
              <a:t>who</a:t>
            </a:r>
            <a:r>
              <a:rPr lang="de-DE" b="0" i="1" dirty="0" smtClean="0"/>
              <a:t> </a:t>
            </a:r>
            <a:r>
              <a:rPr lang="de-DE" b="0" i="1" dirty="0" err="1" smtClean="0"/>
              <a:t>interacts</a:t>
            </a:r>
            <a:r>
              <a:rPr lang="de-DE" b="0" i="1" dirty="0" smtClean="0"/>
              <a:t> </a:t>
            </a:r>
            <a:r>
              <a:rPr lang="de-DE" b="0" i="1" dirty="0" err="1" smtClean="0"/>
              <a:t>with</a:t>
            </a:r>
            <a:r>
              <a:rPr lang="de-DE" b="0" i="1" dirty="0" smtClean="0"/>
              <a:t> </a:t>
            </a:r>
            <a:r>
              <a:rPr lang="de-DE" b="0" i="1" dirty="0" err="1" smtClean="0"/>
              <a:t>it</a:t>
            </a:r>
            <a:r>
              <a:rPr lang="de-DE" b="0" i="1" dirty="0" smtClean="0"/>
              <a:t>?</a:t>
            </a:r>
            <a:endParaRPr lang="en-US" b="0" i="1" dirty="0"/>
          </a:p>
        </p:txBody>
      </p:sp>
      <p:cxnSp>
        <p:nvCxnSpPr>
          <p:cNvPr id="123" name="Straight Connector 122"/>
          <p:cNvCxnSpPr/>
          <p:nvPr/>
        </p:nvCxnSpPr>
        <p:spPr bwMode="auto">
          <a:xfrm flipH="1">
            <a:off x="3943944" y="3043146"/>
            <a:ext cx="5904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6" name="Straight Connector 125"/>
          <p:cNvCxnSpPr/>
          <p:nvPr/>
        </p:nvCxnSpPr>
        <p:spPr bwMode="auto">
          <a:xfrm flipH="1">
            <a:off x="3368526" y="4305300"/>
            <a:ext cx="0" cy="190800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Straight Connector 126"/>
          <p:cNvCxnSpPr/>
          <p:nvPr/>
        </p:nvCxnSpPr>
        <p:spPr bwMode="auto">
          <a:xfrm flipH="1" flipV="1">
            <a:off x="3368525" y="6196343"/>
            <a:ext cx="6480000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TextBox 140"/>
          <p:cNvSpPr txBox="1"/>
          <p:nvPr/>
        </p:nvSpPr>
        <p:spPr>
          <a:xfrm>
            <a:off x="4169066" y="3258134"/>
            <a:ext cx="2650834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Phase:</a:t>
            </a:r>
            <a:r>
              <a:rPr lang="en-US" b="1" i="1" dirty="0" smtClean="0">
                <a:solidFill>
                  <a:srgbClr val="00646E"/>
                </a:solidFill>
              </a:rPr>
              <a:t> Update</a:t>
            </a:r>
            <a:endParaRPr lang="en-US" b="1" i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receives an Update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pdate : A Change in the Things software or hardware that keeps backwards compatibility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769141" y="4669811"/>
            <a:ext cx="35525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mpact on the Thing Description</a:t>
            </a:r>
            <a:endParaRPr lang="en-US" b="1" dirty="0">
              <a:solidFill>
                <a:srgbClr val="00646E"/>
              </a:solidFill>
            </a:endParaRP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Thing Description might change metadata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New Interactions might be added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rgbClr val="00646E"/>
              </a:solidFill>
            </a:endParaRPr>
          </a:p>
        </p:txBody>
      </p:sp>
      <p:sp>
        <p:nvSpPr>
          <p:cNvPr id="206" name="Freeform 6"/>
          <p:cNvSpPr>
            <a:spLocks noChangeAspect="1" noEditPoints="1"/>
          </p:cNvSpPr>
          <p:nvPr/>
        </p:nvSpPr>
        <p:spPr bwMode="auto">
          <a:xfrm>
            <a:off x="2420276" y="3992494"/>
            <a:ext cx="333548" cy="324000"/>
          </a:xfrm>
          <a:custGeom>
            <a:avLst/>
            <a:gdLst>
              <a:gd name="T0" fmla="*/ 1187 w 3347"/>
              <a:gd name="T1" fmla="*/ 1962 h 3251"/>
              <a:gd name="T2" fmla="*/ 1387 w 3347"/>
              <a:gd name="T3" fmla="*/ 2163 h 3251"/>
              <a:gd name="T4" fmla="*/ 847 w 3347"/>
              <a:gd name="T5" fmla="*/ 2703 h 3251"/>
              <a:gd name="T6" fmla="*/ 780 w 3347"/>
              <a:gd name="T7" fmla="*/ 2971 h 3251"/>
              <a:gd name="T8" fmla="*/ 233 w 3347"/>
              <a:gd name="T9" fmla="*/ 3251 h 3251"/>
              <a:gd name="T10" fmla="*/ 100 w 3347"/>
              <a:gd name="T11" fmla="*/ 3117 h 3251"/>
              <a:gd name="T12" fmla="*/ 379 w 3347"/>
              <a:gd name="T13" fmla="*/ 2570 h 3251"/>
              <a:gd name="T14" fmla="*/ 647 w 3347"/>
              <a:gd name="T15" fmla="*/ 2503 h 3251"/>
              <a:gd name="T16" fmla="*/ 1187 w 3347"/>
              <a:gd name="T17" fmla="*/ 1962 h 3251"/>
              <a:gd name="T18" fmla="*/ 2306 w 3347"/>
              <a:gd name="T19" fmla="*/ 1611 h 3251"/>
              <a:gd name="T20" fmla="*/ 1738 w 3347"/>
              <a:gd name="T21" fmla="*/ 1042 h 3251"/>
              <a:gd name="T22" fmla="*/ 2622 w 3347"/>
              <a:gd name="T23" fmla="*/ 157 h 3251"/>
              <a:gd name="T24" fmla="*/ 3190 w 3347"/>
              <a:gd name="T25" fmla="*/ 157 h 3251"/>
              <a:gd name="T26" fmla="*/ 3190 w 3347"/>
              <a:gd name="T27" fmla="*/ 726 h 3251"/>
              <a:gd name="T28" fmla="*/ 2306 w 3347"/>
              <a:gd name="T29" fmla="*/ 1611 h 3251"/>
              <a:gd name="T30" fmla="*/ 2105 w 3347"/>
              <a:gd name="T31" fmla="*/ 1143 h 3251"/>
              <a:gd name="T32" fmla="*/ 2889 w 3347"/>
              <a:gd name="T33" fmla="*/ 358 h 3251"/>
              <a:gd name="T34" fmla="*/ 2889 w 3347"/>
              <a:gd name="T35" fmla="*/ 258 h 3251"/>
              <a:gd name="T36" fmla="*/ 2789 w 3347"/>
              <a:gd name="T37" fmla="*/ 258 h 3251"/>
              <a:gd name="T38" fmla="*/ 2005 w 3347"/>
              <a:gd name="T39" fmla="*/ 1042 h 3251"/>
              <a:gd name="T40" fmla="*/ 2105 w 3347"/>
              <a:gd name="T41" fmla="*/ 1143 h 3251"/>
              <a:gd name="T42" fmla="*/ 2206 w 3347"/>
              <a:gd name="T43" fmla="*/ 1243 h 3251"/>
              <a:gd name="T44" fmla="*/ 2306 w 3347"/>
              <a:gd name="T45" fmla="*/ 1343 h 3251"/>
              <a:gd name="T46" fmla="*/ 3090 w 3347"/>
              <a:gd name="T47" fmla="*/ 559 h 3251"/>
              <a:gd name="T48" fmla="*/ 3090 w 3347"/>
              <a:gd name="T49" fmla="*/ 458 h 3251"/>
              <a:gd name="T50" fmla="*/ 2989 w 3347"/>
              <a:gd name="T51" fmla="*/ 458 h 3251"/>
              <a:gd name="T52" fmla="*/ 2206 w 3347"/>
              <a:gd name="T53" fmla="*/ 1243 h 3251"/>
              <a:gd name="T54" fmla="*/ 3100 w 3347"/>
              <a:gd name="T55" fmla="*/ 2674 h 3251"/>
              <a:gd name="T56" fmla="*/ 3204 w 3347"/>
              <a:gd name="T57" fmla="*/ 2915 h 3251"/>
              <a:gd name="T58" fmla="*/ 2873 w 3347"/>
              <a:gd name="T59" fmla="*/ 3246 h 3251"/>
              <a:gd name="T60" fmla="*/ 2640 w 3347"/>
              <a:gd name="T61" fmla="*/ 3149 h 3251"/>
              <a:gd name="T62" fmla="*/ 2640 w 3347"/>
              <a:gd name="T63" fmla="*/ 3149 h 3251"/>
              <a:gd name="T64" fmla="*/ 2640 w 3347"/>
              <a:gd name="T65" fmla="*/ 3149 h 3251"/>
              <a:gd name="T66" fmla="*/ 2639 w 3347"/>
              <a:gd name="T67" fmla="*/ 3149 h 3251"/>
              <a:gd name="T68" fmla="*/ 760 w 3347"/>
              <a:gd name="T69" fmla="*/ 1267 h 3251"/>
              <a:gd name="T70" fmla="*/ 359 w 3347"/>
              <a:gd name="T71" fmla="*/ 1267 h 3251"/>
              <a:gd name="T72" fmla="*/ 0 w 3347"/>
              <a:gd name="T73" fmla="*/ 908 h 3251"/>
              <a:gd name="T74" fmla="*/ 0 w 3347"/>
              <a:gd name="T75" fmla="*/ 640 h 3251"/>
              <a:gd name="T76" fmla="*/ 0 w 3347"/>
              <a:gd name="T77" fmla="*/ 640 h 3251"/>
              <a:gd name="T78" fmla="*/ 134 w 3347"/>
              <a:gd name="T79" fmla="*/ 507 h 3251"/>
              <a:gd name="T80" fmla="*/ 468 w 3347"/>
              <a:gd name="T81" fmla="*/ 841 h 3251"/>
              <a:gd name="T82" fmla="*/ 802 w 3347"/>
              <a:gd name="T83" fmla="*/ 841 h 3251"/>
              <a:gd name="T84" fmla="*/ 802 w 3347"/>
              <a:gd name="T85" fmla="*/ 507 h 3251"/>
              <a:gd name="T86" fmla="*/ 468 w 3347"/>
              <a:gd name="T87" fmla="*/ 172 h 3251"/>
              <a:gd name="T88" fmla="*/ 602 w 3347"/>
              <a:gd name="T89" fmla="*/ 38 h 3251"/>
              <a:gd name="T90" fmla="*/ 602 w 3347"/>
              <a:gd name="T91" fmla="*/ 38 h 3251"/>
              <a:gd name="T92" fmla="*/ 869 w 3347"/>
              <a:gd name="T93" fmla="*/ 38 h 3251"/>
              <a:gd name="T94" fmla="*/ 1228 w 3347"/>
              <a:gd name="T95" fmla="*/ 398 h 3251"/>
              <a:gd name="T96" fmla="*/ 1228 w 3347"/>
              <a:gd name="T97" fmla="*/ 799 h 3251"/>
              <a:gd name="T98" fmla="*/ 3100 w 3347"/>
              <a:gd name="T99" fmla="*/ 2674 h 3251"/>
              <a:gd name="T100" fmla="*/ 3100 w 3347"/>
              <a:gd name="T101" fmla="*/ 2674 h 3251"/>
              <a:gd name="T102" fmla="*/ 2974 w 3347"/>
              <a:gd name="T103" fmla="*/ 2811 h 3251"/>
              <a:gd name="T104" fmla="*/ 2770 w 3347"/>
              <a:gd name="T105" fmla="*/ 2814 h 3251"/>
              <a:gd name="T106" fmla="*/ 2773 w 3347"/>
              <a:gd name="T107" fmla="*/ 3018 h 3251"/>
              <a:gd name="T108" fmla="*/ 2976 w 3347"/>
              <a:gd name="T109" fmla="*/ 3015 h 3251"/>
              <a:gd name="T110" fmla="*/ 2974 w 3347"/>
              <a:gd name="T111" fmla="*/ 2811 h 3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47" h="3251">
                <a:moveTo>
                  <a:pt x="1187" y="1962"/>
                </a:moveTo>
                <a:lnTo>
                  <a:pt x="1387" y="2163"/>
                </a:lnTo>
                <a:lnTo>
                  <a:pt x="847" y="2703"/>
                </a:lnTo>
                <a:lnTo>
                  <a:pt x="780" y="2971"/>
                </a:lnTo>
                <a:lnTo>
                  <a:pt x="233" y="3251"/>
                </a:lnTo>
                <a:lnTo>
                  <a:pt x="100" y="3117"/>
                </a:lnTo>
                <a:lnTo>
                  <a:pt x="379" y="2570"/>
                </a:lnTo>
                <a:lnTo>
                  <a:pt x="647" y="2503"/>
                </a:lnTo>
                <a:lnTo>
                  <a:pt x="1187" y="1962"/>
                </a:lnTo>
                <a:close/>
                <a:moveTo>
                  <a:pt x="2306" y="1611"/>
                </a:moveTo>
                <a:lnTo>
                  <a:pt x="1738" y="1042"/>
                </a:lnTo>
                <a:lnTo>
                  <a:pt x="2622" y="157"/>
                </a:lnTo>
                <a:cubicBezTo>
                  <a:pt x="2779" y="0"/>
                  <a:pt x="3033" y="0"/>
                  <a:pt x="3190" y="157"/>
                </a:cubicBezTo>
                <a:cubicBezTo>
                  <a:pt x="3347" y="314"/>
                  <a:pt x="3347" y="569"/>
                  <a:pt x="3190" y="726"/>
                </a:cubicBezTo>
                <a:lnTo>
                  <a:pt x="2306" y="1611"/>
                </a:lnTo>
                <a:close/>
                <a:moveTo>
                  <a:pt x="2105" y="1143"/>
                </a:moveTo>
                <a:lnTo>
                  <a:pt x="2889" y="358"/>
                </a:lnTo>
                <a:cubicBezTo>
                  <a:pt x="2917" y="330"/>
                  <a:pt x="2917" y="285"/>
                  <a:pt x="2889" y="258"/>
                </a:cubicBezTo>
                <a:cubicBezTo>
                  <a:pt x="2861" y="230"/>
                  <a:pt x="2817" y="230"/>
                  <a:pt x="2789" y="258"/>
                </a:cubicBezTo>
                <a:lnTo>
                  <a:pt x="2005" y="1042"/>
                </a:lnTo>
                <a:lnTo>
                  <a:pt x="2105" y="1143"/>
                </a:lnTo>
                <a:close/>
                <a:moveTo>
                  <a:pt x="2206" y="1243"/>
                </a:moveTo>
                <a:lnTo>
                  <a:pt x="2306" y="1343"/>
                </a:lnTo>
                <a:lnTo>
                  <a:pt x="3090" y="559"/>
                </a:lnTo>
                <a:cubicBezTo>
                  <a:pt x="3117" y="531"/>
                  <a:pt x="3117" y="486"/>
                  <a:pt x="3090" y="458"/>
                </a:cubicBezTo>
                <a:cubicBezTo>
                  <a:pt x="3062" y="431"/>
                  <a:pt x="3017" y="431"/>
                  <a:pt x="2989" y="458"/>
                </a:cubicBezTo>
                <a:lnTo>
                  <a:pt x="2206" y="1243"/>
                </a:lnTo>
                <a:close/>
                <a:moveTo>
                  <a:pt x="3100" y="2674"/>
                </a:moveTo>
                <a:cubicBezTo>
                  <a:pt x="3164" y="2735"/>
                  <a:pt x="3204" y="2820"/>
                  <a:pt x="3204" y="2915"/>
                </a:cubicBezTo>
                <a:cubicBezTo>
                  <a:pt x="3204" y="3097"/>
                  <a:pt x="3056" y="3246"/>
                  <a:pt x="2873" y="3246"/>
                </a:cubicBezTo>
                <a:cubicBezTo>
                  <a:pt x="2782" y="3246"/>
                  <a:pt x="2700" y="3209"/>
                  <a:pt x="2640" y="3149"/>
                </a:cubicBezTo>
                <a:lnTo>
                  <a:pt x="2640" y="3149"/>
                </a:lnTo>
                <a:lnTo>
                  <a:pt x="2640" y="3149"/>
                </a:lnTo>
                <a:cubicBezTo>
                  <a:pt x="2639" y="3149"/>
                  <a:pt x="2639" y="3149"/>
                  <a:pt x="2639" y="3149"/>
                </a:cubicBezTo>
                <a:lnTo>
                  <a:pt x="760" y="1267"/>
                </a:lnTo>
                <a:lnTo>
                  <a:pt x="359" y="1267"/>
                </a:lnTo>
                <a:lnTo>
                  <a:pt x="0" y="908"/>
                </a:lnTo>
                <a:lnTo>
                  <a:pt x="0" y="640"/>
                </a:lnTo>
                <a:lnTo>
                  <a:pt x="0" y="640"/>
                </a:lnTo>
                <a:lnTo>
                  <a:pt x="134" y="507"/>
                </a:lnTo>
                <a:lnTo>
                  <a:pt x="468" y="841"/>
                </a:lnTo>
                <a:lnTo>
                  <a:pt x="802" y="841"/>
                </a:lnTo>
                <a:lnTo>
                  <a:pt x="802" y="507"/>
                </a:lnTo>
                <a:lnTo>
                  <a:pt x="468" y="172"/>
                </a:lnTo>
                <a:lnTo>
                  <a:pt x="602" y="38"/>
                </a:lnTo>
                <a:lnTo>
                  <a:pt x="602" y="38"/>
                </a:lnTo>
                <a:lnTo>
                  <a:pt x="869" y="38"/>
                </a:lnTo>
                <a:lnTo>
                  <a:pt x="1228" y="398"/>
                </a:lnTo>
                <a:lnTo>
                  <a:pt x="1228" y="799"/>
                </a:lnTo>
                <a:lnTo>
                  <a:pt x="3100" y="2674"/>
                </a:lnTo>
                <a:lnTo>
                  <a:pt x="3100" y="2674"/>
                </a:lnTo>
                <a:close/>
                <a:moveTo>
                  <a:pt x="2974" y="2811"/>
                </a:moveTo>
                <a:cubicBezTo>
                  <a:pt x="2917" y="2756"/>
                  <a:pt x="2826" y="2757"/>
                  <a:pt x="2770" y="2814"/>
                </a:cubicBezTo>
                <a:cubicBezTo>
                  <a:pt x="2715" y="2871"/>
                  <a:pt x="2716" y="2962"/>
                  <a:pt x="2773" y="3018"/>
                </a:cubicBezTo>
                <a:cubicBezTo>
                  <a:pt x="2830" y="3074"/>
                  <a:pt x="2921" y="3072"/>
                  <a:pt x="2976" y="3015"/>
                </a:cubicBezTo>
                <a:cubicBezTo>
                  <a:pt x="3032" y="2958"/>
                  <a:pt x="3031" y="2867"/>
                  <a:pt x="2974" y="2811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223"/>
          <p:cNvGrpSpPr>
            <a:grpSpLocks noChangeAspect="1"/>
          </p:cNvGrpSpPr>
          <p:nvPr/>
        </p:nvGrpSpPr>
        <p:grpSpPr>
          <a:xfrm>
            <a:off x="3048341" y="3339020"/>
            <a:ext cx="413598" cy="324000"/>
            <a:chOff x="3428999" y="1937808"/>
            <a:chExt cx="1383428" cy="1083733"/>
          </a:xfrm>
        </p:grpSpPr>
        <p:sp>
          <p:nvSpPr>
            <p:cNvPr id="225" name="Donut 224"/>
            <p:cNvSpPr/>
            <p:nvPr/>
          </p:nvSpPr>
          <p:spPr bwMode="auto">
            <a:xfrm>
              <a:off x="3598333" y="1937808"/>
              <a:ext cx="1049867" cy="1083733"/>
            </a:xfrm>
            <a:prstGeom prst="donut">
              <a:avLst>
                <a:gd name="adj" fmla="val 20867"/>
              </a:avLst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6" name="Rectangle 225"/>
            <p:cNvSpPr/>
            <p:nvPr/>
          </p:nvSpPr>
          <p:spPr bwMode="auto">
            <a:xfrm rot="18856522">
              <a:off x="3600799" y="2640937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7" name="Rectangle 226"/>
            <p:cNvSpPr/>
            <p:nvPr/>
          </p:nvSpPr>
          <p:spPr bwMode="auto">
            <a:xfrm rot="18856522">
              <a:off x="4278133" y="2175272"/>
              <a:ext cx="355600" cy="1645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8" name="Isosceles Triangle 227"/>
            <p:cNvSpPr/>
            <p:nvPr/>
          </p:nvSpPr>
          <p:spPr bwMode="auto">
            <a:xfrm rot="10800000">
              <a:off x="3428999" y="2513537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/>
            <p:cNvSpPr/>
            <p:nvPr/>
          </p:nvSpPr>
          <p:spPr bwMode="auto">
            <a:xfrm>
              <a:off x="4306755" y="2191793"/>
              <a:ext cx="505672" cy="251897"/>
            </a:xfrm>
            <a:prstGeom prst="triangle">
              <a:avLst/>
            </a:prstGeom>
            <a:solidFill>
              <a:srgbClr val="0F8287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1507070" y="1757816"/>
            <a:ext cx="336885" cy="293655"/>
          </a:xfrm>
          <a:custGeom>
            <a:avLst/>
            <a:gdLst>
              <a:gd name="T0" fmla="*/ 3118 w 3685"/>
              <a:gd name="T1" fmla="*/ 0 h 3212"/>
              <a:gd name="T2" fmla="*/ 3118 w 3685"/>
              <a:gd name="T3" fmla="*/ 1320 h 3212"/>
              <a:gd name="T4" fmla="*/ 2079 w 3685"/>
              <a:gd name="T5" fmla="*/ 756 h 3212"/>
              <a:gd name="T6" fmla="*/ 2079 w 3685"/>
              <a:gd name="T7" fmla="*/ 1320 h 3212"/>
              <a:gd name="T8" fmla="*/ 1040 w 3685"/>
              <a:gd name="T9" fmla="*/ 756 h 3212"/>
              <a:gd name="T10" fmla="*/ 1040 w 3685"/>
              <a:gd name="T11" fmla="*/ 1320 h 3212"/>
              <a:gd name="T12" fmla="*/ 0 w 3685"/>
              <a:gd name="T13" fmla="*/ 756 h 3212"/>
              <a:gd name="T14" fmla="*/ 0 w 3685"/>
              <a:gd name="T15" fmla="*/ 3212 h 3212"/>
              <a:gd name="T16" fmla="*/ 3685 w 3685"/>
              <a:gd name="T17" fmla="*/ 3212 h 3212"/>
              <a:gd name="T18" fmla="*/ 3685 w 3685"/>
              <a:gd name="T19" fmla="*/ 0 h 3212"/>
              <a:gd name="T20" fmla="*/ 3118 w 3685"/>
              <a:gd name="T21" fmla="*/ 0 h 3212"/>
              <a:gd name="T22" fmla="*/ 3118 w 3685"/>
              <a:gd name="T23" fmla="*/ 2740 h 3212"/>
              <a:gd name="T24" fmla="*/ 567 w 3685"/>
              <a:gd name="T25" fmla="*/ 2740 h 3212"/>
              <a:gd name="T26" fmla="*/ 567 w 3685"/>
              <a:gd name="T27" fmla="*/ 2456 h 3212"/>
              <a:gd name="T28" fmla="*/ 3118 w 3685"/>
              <a:gd name="T29" fmla="*/ 2456 h 3212"/>
              <a:gd name="T30" fmla="*/ 3118 w 3685"/>
              <a:gd name="T31" fmla="*/ 2740 h 3212"/>
              <a:gd name="T32" fmla="*/ 3118 w 3685"/>
              <a:gd name="T33" fmla="*/ 2173 h 3212"/>
              <a:gd name="T34" fmla="*/ 567 w 3685"/>
              <a:gd name="T35" fmla="*/ 2173 h 3212"/>
              <a:gd name="T36" fmla="*/ 567 w 3685"/>
              <a:gd name="T37" fmla="*/ 1890 h 3212"/>
              <a:gd name="T38" fmla="*/ 3118 w 3685"/>
              <a:gd name="T39" fmla="*/ 1890 h 3212"/>
              <a:gd name="T40" fmla="*/ 3118 w 3685"/>
              <a:gd name="T41" fmla="*/ 2173 h 3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685" h="3212">
                <a:moveTo>
                  <a:pt x="3118" y="0"/>
                </a:moveTo>
                <a:lnTo>
                  <a:pt x="3118" y="1320"/>
                </a:lnTo>
                <a:lnTo>
                  <a:pt x="2079" y="756"/>
                </a:lnTo>
                <a:lnTo>
                  <a:pt x="2079" y="1320"/>
                </a:lnTo>
                <a:lnTo>
                  <a:pt x="1040" y="756"/>
                </a:lnTo>
                <a:lnTo>
                  <a:pt x="1040" y="1320"/>
                </a:lnTo>
                <a:lnTo>
                  <a:pt x="0" y="756"/>
                </a:lnTo>
                <a:lnTo>
                  <a:pt x="0" y="3212"/>
                </a:lnTo>
                <a:lnTo>
                  <a:pt x="3685" y="3212"/>
                </a:lnTo>
                <a:lnTo>
                  <a:pt x="3685" y="0"/>
                </a:lnTo>
                <a:lnTo>
                  <a:pt x="3118" y="0"/>
                </a:lnTo>
                <a:close/>
                <a:moveTo>
                  <a:pt x="3118" y="2740"/>
                </a:moveTo>
                <a:lnTo>
                  <a:pt x="567" y="2740"/>
                </a:lnTo>
                <a:lnTo>
                  <a:pt x="567" y="2456"/>
                </a:lnTo>
                <a:lnTo>
                  <a:pt x="3118" y="2456"/>
                </a:lnTo>
                <a:lnTo>
                  <a:pt x="3118" y="2740"/>
                </a:lnTo>
                <a:close/>
                <a:moveTo>
                  <a:pt x="3118" y="2173"/>
                </a:moveTo>
                <a:lnTo>
                  <a:pt x="567" y="2173"/>
                </a:lnTo>
                <a:lnTo>
                  <a:pt x="567" y="1890"/>
                </a:lnTo>
                <a:lnTo>
                  <a:pt x="3118" y="1890"/>
                </a:lnTo>
                <a:lnTo>
                  <a:pt x="3118" y="2173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6"/>
          <p:cNvSpPr>
            <a:spLocks noChangeAspect="1" noEditPoints="1"/>
          </p:cNvSpPr>
          <p:nvPr/>
        </p:nvSpPr>
        <p:spPr bwMode="auto">
          <a:xfrm>
            <a:off x="3173841" y="2395709"/>
            <a:ext cx="185410" cy="360000"/>
          </a:xfrm>
          <a:custGeom>
            <a:avLst/>
            <a:gdLst>
              <a:gd name="T0" fmla="*/ 1607 w 1607"/>
              <a:gd name="T1" fmla="*/ 1606 h 3118"/>
              <a:gd name="T2" fmla="*/ 1607 w 1607"/>
              <a:gd name="T3" fmla="*/ 2268 h 3118"/>
              <a:gd name="T4" fmla="*/ 1418 w 1607"/>
              <a:gd name="T5" fmla="*/ 2735 h 3118"/>
              <a:gd name="T6" fmla="*/ 1418 w 1607"/>
              <a:gd name="T7" fmla="*/ 3118 h 3118"/>
              <a:gd name="T8" fmla="*/ 567 w 1607"/>
              <a:gd name="T9" fmla="*/ 3118 h 3118"/>
              <a:gd name="T10" fmla="*/ 567 w 1607"/>
              <a:gd name="T11" fmla="*/ 2929 h 3118"/>
              <a:gd name="T12" fmla="*/ 194 w 1607"/>
              <a:gd name="T13" fmla="*/ 2362 h 3118"/>
              <a:gd name="T14" fmla="*/ 189 w 1607"/>
              <a:gd name="T15" fmla="*/ 2362 h 3118"/>
              <a:gd name="T16" fmla="*/ 189 w 1607"/>
              <a:gd name="T17" fmla="*/ 2355 h 3118"/>
              <a:gd name="T18" fmla="*/ 189 w 1607"/>
              <a:gd name="T19" fmla="*/ 2355 h 3118"/>
              <a:gd name="T20" fmla="*/ 189 w 1607"/>
              <a:gd name="T21" fmla="*/ 1653 h 3118"/>
              <a:gd name="T22" fmla="*/ 331 w 1607"/>
              <a:gd name="T23" fmla="*/ 1512 h 3118"/>
              <a:gd name="T24" fmla="*/ 473 w 1607"/>
              <a:gd name="T25" fmla="*/ 1653 h 3118"/>
              <a:gd name="T26" fmla="*/ 473 w 1607"/>
              <a:gd name="T27" fmla="*/ 614 h 3118"/>
              <a:gd name="T28" fmla="*/ 614 w 1607"/>
              <a:gd name="T29" fmla="*/ 472 h 3118"/>
              <a:gd name="T30" fmla="*/ 756 w 1607"/>
              <a:gd name="T31" fmla="*/ 614 h 3118"/>
              <a:gd name="T32" fmla="*/ 756 w 1607"/>
              <a:gd name="T33" fmla="*/ 1181 h 3118"/>
              <a:gd name="T34" fmla="*/ 898 w 1607"/>
              <a:gd name="T35" fmla="*/ 1039 h 3118"/>
              <a:gd name="T36" fmla="*/ 898 w 1607"/>
              <a:gd name="T37" fmla="*/ 1039 h 3118"/>
              <a:gd name="T38" fmla="*/ 1040 w 1607"/>
              <a:gd name="T39" fmla="*/ 1181 h 3118"/>
              <a:gd name="T40" fmla="*/ 1040 w 1607"/>
              <a:gd name="T41" fmla="*/ 1275 h 3118"/>
              <a:gd name="T42" fmla="*/ 1181 w 1607"/>
              <a:gd name="T43" fmla="*/ 1134 h 3118"/>
              <a:gd name="T44" fmla="*/ 1323 w 1607"/>
              <a:gd name="T45" fmla="*/ 1275 h 3118"/>
              <a:gd name="T46" fmla="*/ 1323 w 1607"/>
              <a:gd name="T47" fmla="*/ 1464 h 3118"/>
              <a:gd name="T48" fmla="*/ 1465 w 1607"/>
              <a:gd name="T49" fmla="*/ 1323 h 3118"/>
              <a:gd name="T50" fmla="*/ 1607 w 1607"/>
              <a:gd name="T51" fmla="*/ 1464 h 3118"/>
              <a:gd name="T52" fmla="*/ 1607 w 1607"/>
              <a:gd name="T53" fmla="*/ 1606 h 3118"/>
              <a:gd name="T54" fmla="*/ 1607 w 1607"/>
              <a:gd name="T55" fmla="*/ 1606 h 3118"/>
              <a:gd name="T56" fmla="*/ 189 w 1607"/>
              <a:gd name="T57" fmla="*/ 614 h 3118"/>
              <a:gd name="T58" fmla="*/ 614 w 1607"/>
              <a:gd name="T59" fmla="*/ 189 h 3118"/>
              <a:gd name="T60" fmla="*/ 1040 w 1607"/>
              <a:gd name="T61" fmla="*/ 614 h 3118"/>
              <a:gd name="T62" fmla="*/ 973 w 1607"/>
              <a:gd name="T63" fmla="*/ 841 h 3118"/>
              <a:gd name="T64" fmla="*/ 1141 w 1607"/>
              <a:gd name="T65" fmla="*/ 930 h 3118"/>
              <a:gd name="T66" fmla="*/ 1229 w 1607"/>
              <a:gd name="T67" fmla="*/ 614 h 3118"/>
              <a:gd name="T68" fmla="*/ 614 w 1607"/>
              <a:gd name="T69" fmla="*/ 0 h 3118"/>
              <a:gd name="T70" fmla="*/ 0 w 1607"/>
              <a:gd name="T71" fmla="*/ 614 h 3118"/>
              <a:gd name="T72" fmla="*/ 88 w 1607"/>
              <a:gd name="T73" fmla="*/ 930 h 3118"/>
              <a:gd name="T74" fmla="*/ 255 w 1607"/>
              <a:gd name="T75" fmla="*/ 841 h 3118"/>
              <a:gd name="T76" fmla="*/ 189 w 1607"/>
              <a:gd name="T77" fmla="*/ 614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07" h="3118">
                <a:moveTo>
                  <a:pt x="1607" y="1606"/>
                </a:moveTo>
                <a:lnTo>
                  <a:pt x="1607" y="2268"/>
                </a:lnTo>
                <a:lnTo>
                  <a:pt x="1418" y="2735"/>
                </a:lnTo>
                <a:lnTo>
                  <a:pt x="1418" y="3118"/>
                </a:lnTo>
                <a:lnTo>
                  <a:pt x="567" y="3118"/>
                </a:lnTo>
                <a:lnTo>
                  <a:pt x="567" y="2929"/>
                </a:lnTo>
                <a:lnTo>
                  <a:pt x="194" y="2362"/>
                </a:lnTo>
                <a:lnTo>
                  <a:pt x="189" y="2362"/>
                </a:lnTo>
                <a:lnTo>
                  <a:pt x="189" y="2355"/>
                </a:lnTo>
                <a:lnTo>
                  <a:pt x="189" y="2355"/>
                </a:lnTo>
                <a:lnTo>
                  <a:pt x="189" y="1653"/>
                </a:lnTo>
                <a:cubicBezTo>
                  <a:pt x="189" y="1575"/>
                  <a:pt x="253" y="1512"/>
                  <a:pt x="331" y="1512"/>
                </a:cubicBezTo>
                <a:cubicBezTo>
                  <a:pt x="409" y="1512"/>
                  <a:pt x="473" y="1575"/>
                  <a:pt x="473" y="1653"/>
                </a:cubicBezTo>
                <a:lnTo>
                  <a:pt x="473" y="614"/>
                </a:lnTo>
                <a:cubicBezTo>
                  <a:pt x="473" y="536"/>
                  <a:pt x="536" y="472"/>
                  <a:pt x="614" y="472"/>
                </a:cubicBezTo>
                <a:cubicBezTo>
                  <a:pt x="693" y="472"/>
                  <a:pt x="756" y="536"/>
                  <a:pt x="756" y="614"/>
                </a:cubicBezTo>
                <a:lnTo>
                  <a:pt x="756" y="1181"/>
                </a:lnTo>
                <a:cubicBezTo>
                  <a:pt x="756" y="1103"/>
                  <a:pt x="820" y="1039"/>
                  <a:pt x="898" y="1039"/>
                </a:cubicBezTo>
                <a:lnTo>
                  <a:pt x="898" y="1039"/>
                </a:lnTo>
                <a:cubicBezTo>
                  <a:pt x="976" y="1039"/>
                  <a:pt x="1040" y="1103"/>
                  <a:pt x="1040" y="1181"/>
                </a:cubicBezTo>
                <a:lnTo>
                  <a:pt x="1040" y="1275"/>
                </a:lnTo>
                <a:cubicBezTo>
                  <a:pt x="1040" y="1197"/>
                  <a:pt x="1103" y="1134"/>
                  <a:pt x="1181" y="1134"/>
                </a:cubicBezTo>
                <a:cubicBezTo>
                  <a:pt x="1260" y="1134"/>
                  <a:pt x="1323" y="1197"/>
                  <a:pt x="1323" y="1275"/>
                </a:cubicBezTo>
                <a:lnTo>
                  <a:pt x="1323" y="1464"/>
                </a:lnTo>
                <a:cubicBezTo>
                  <a:pt x="1323" y="1386"/>
                  <a:pt x="1387" y="1323"/>
                  <a:pt x="1465" y="1323"/>
                </a:cubicBezTo>
                <a:cubicBezTo>
                  <a:pt x="1543" y="1323"/>
                  <a:pt x="1607" y="1386"/>
                  <a:pt x="1607" y="1464"/>
                </a:cubicBezTo>
                <a:lnTo>
                  <a:pt x="1607" y="1606"/>
                </a:lnTo>
                <a:lnTo>
                  <a:pt x="1607" y="1606"/>
                </a:lnTo>
                <a:close/>
                <a:moveTo>
                  <a:pt x="189" y="614"/>
                </a:moveTo>
                <a:cubicBezTo>
                  <a:pt x="189" y="380"/>
                  <a:pt x="380" y="189"/>
                  <a:pt x="614" y="189"/>
                </a:cubicBezTo>
                <a:cubicBezTo>
                  <a:pt x="849" y="189"/>
                  <a:pt x="1040" y="380"/>
                  <a:pt x="1040" y="614"/>
                </a:cubicBezTo>
                <a:cubicBezTo>
                  <a:pt x="1040" y="698"/>
                  <a:pt x="1015" y="776"/>
                  <a:pt x="973" y="841"/>
                </a:cubicBezTo>
                <a:lnTo>
                  <a:pt x="1141" y="930"/>
                </a:lnTo>
                <a:cubicBezTo>
                  <a:pt x="1196" y="838"/>
                  <a:pt x="1229" y="729"/>
                  <a:pt x="1229" y="614"/>
                </a:cubicBezTo>
                <a:cubicBezTo>
                  <a:pt x="1229" y="275"/>
                  <a:pt x="953" y="0"/>
                  <a:pt x="614" y="0"/>
                </a:cubicBezTo>
                <a:cubicBezTo>
                  <a:pt x="276" y="0"/>
                  <a:pt x="0" y="275"/>
                  <a:pt x="0" y="614"/>
                </a:cubicBezTo>
                <a:cubicBezTo>
                  <a:pt x="0" y="729"/>
                  <a:pt x="32" y="838"/>
                  <a:pt x="88" y="930"/>
                </a:cubicBezTo>
                <a:lnTo>
                  <a:pt x="255" y="841"/>
                </a:lnTo>
                <a:cubicBezTo>
                  <a:pt x="214" y="776"/>
                  <a:pt x="189" y="698"/>
                  <a:pt x="189" y="614"/>
                </a:cubicBez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6"/>
          <p:cNvSpPr>
            <a:spLocks noChangeAspect="1" noEditPoints="1"/>
          </p:cNvSpPr>
          <p:nvPr/>
        </p:nvSpPr>
        <p:spPr bwMode="auto">
          <a:xfrm>
            <a:off x="822461" y="3323030"/>
            <a:ext cx="307487" cy="274320"/>
          </a:xfrm>
          <a:custGeom>
            <a:avLst/>
            <a:gdLst>
              <a:gd name="T0" fmla="*/ 3496 w 3496"/>
              <a:gd name="T1" fmla="*/ 756 h 3118"/>
              <a:gd name="T2" fmla="*/ 0 w 3496"/>
              <a:gd name="T3" fmla="*/ 284 h 3118"/>
              <a:gd name="T4" fmla="*/ 567 w 3496"/>
              <a:gd name="T5" fmla="*/ 0 h 3118"/>
              <a:gd name="T6" fmla="*/ 850 w 3496"/>
              <a:gd name="T7" fmla="*/ 284 h 3118"/>
              <a:gd name="T8" fmla="*/ 2646 w 3496"/>
              <a:gd name="T9" fmla="*/ 0 h 3118"/>
              <a:gd name="T10" fmla="*/ 2929 w 3496"/>
              <a:gd name="T11" fmla="*/ 284 h 3118"/>
              <a:gd name="T12" fmla="*/ 0 w 3496"/>
              <a:gd name="T13" fmla="*/ 945 h 3118"/>
              <a:gd name="T14" fmla="*/ 3496 w 3496"/>
              <a:gd name="T15" fmla="*/ 3118 h 3118"/>
              <a:gd name="T16" fmla="*/ 0 w 3496"/>
              <a:gd name="T17" fmla="*/ 945 h 3118"/>
              <a:gd name="T18" fmla="*/ 3307 w 3496"/>
              <a:gd name="T19" fmla="*/ 1607 h 3118"/>
              <a:gd name="T20" fmla="*/ 2834 w 3496"/>
              <a:gd name="T21" fmla="*/ 1134 h 3118"/>
              <a:gd name="T22" fmla="*/ 2834 w 3496"/>
              <a:gd name="T23" fmla="*/ 2929 h 3118"/>
              <a:gd name="T24" fmla="*/ 3307 w 3496"/>
              <a:gd name="T25" fmla="*/ 2457 h 3118"/>
              <a:gd name="T26" fmla="*/ 2834 w 3496"/>
              <a:gd name="T27" fmla="*/ 2929 h 3118"/>
              <a:gd name="T28" fmla="*/ 2646 w 3496"/>
              <a:gd name="T29" fmla="*/ 1607 h 3118"/>
              <a:gd name="T30" fmla="*/ 2173 w 3496"/>
              <a:gd name="T31" fmla="*/ 1134 h 3118"/>
              <a:gd name="T32" fmla="*/ 2173 w 3496"/>
              <a:gd name="T33" fmla="*/ 2268 h 3118"/>
              <a:gd name="T34" fmla="*/ 2646 w 3496"/>
              <a:gd name="T35" fmla="*/ 1796 h 3118"/>
              <a:gd name="T36" fmla="*/ 2173 w 3496"/>
              <a:gd name="T37" fmla="*/ 2268 h 3118"/>
              <a:gd name="T38" fmla="*/ 2646 w 3496"/>
              <a:gd name="T39" fmla="*/ 2929 h 3118"/>
              <a:gd name="T40" fmla="*/ 2173 w 3496"/>
              <a:gd name="T41" fmla="*/ 2457 h 3118"/>
              <a:gd name="T42" fmla="*/ 1512 w 3496"/>
              <a:gd name="T43" fmla="*/ 1607 h 3118"/>
              <a:gd name="T44" fmla="*/ 1984 w 3496"/>
              <a:gd name="T45" fmla="*/ 1134 h 3118"/>
              <a:gd name="T46" fmla="*/ 1512 w 3496"/>
              <a:gd name="T47" fmla="*/ 1607 h 3118"/>
              <a:gd name="T48" fmla="*/ 1984 w 3496"/>
              <a:gd name="T49" fmla="*/ 2268 h 3118"/>
              <a:gd name="T50" fmla="*/ 1512 w 3496"/>
              <a:gd name="T51" fmla="*/ 1796 h 3118"/>
              <a:gd name="T52" fmla="*/ 850 w 3496"/>
              <a:gd name="T53" fmla="*/ 1607 h 3118"/>
              <a:gd name="T54" fmla="*/ 1323 w 3496"/>
              <a:gd name="T55" fmla="*/ 1134 h 3118"/>
              <a:gd name="T56" fmla="*/ 850 w 3496"/>
              <a:gd name="T57" fmla="*/ 1607 h 3118"/>
              <a:gd name="T58" fmla="*/ 1323 w 3496"/>
              <a:gd name="T59" fmla="*/ 2268 h 3118"/>
              <a:gd name="T60" fmla="*/ 850 w 3496"/>
              <a:gd name="T61" fmla="*/ 1796 h 3118"/>
              <a:gd name="T62" fmla="*/ 850 w 3496"/>
              <a:gd name="T63" fmla="*/ 2929 h 3118"/>
              <a:gd name="T64" fmla="*/ 1323 w 3496"/>
              <a:gd name="T65" fmla="*/ 2457 h 3118"/>
              <a:gd name="T66" fmla="*/ 850 w 3496"/>
              <a:gd name="T67" fmla="*/ 2929 h 3118"/>
              <a:gd name="T68" fmla="*/ 661 w 3496"/>
              <a:gd name="T69" fmla="*/ 2268 h 3118"/>
              <a:gd name="T70" fmla="*/ 189 w 3496"/>
              <a:gd name="T71" fmla="*/ 1796 h 3118"/>
              <a:gd name="T72" fmla="*/ 189 w 3496"/>
              <a:gd name="T73" fmla="*/ 2929 h 3118"/>
              <a:gd name="T74" fmla="*/ 661 w 3496"/>
              <a:gd name="T75" fmla="*/ 2457 h 3118"/>
              <a:gd name="T76" fmla="*/ 189 w 3496"/>
              <a:gd name="T77" fmla="*/ 2929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96" h="3118">
                <a:moveTo>
                  <a:pt x="3496" y="284"/>
                </a:moveTo>
                <a:lnTo>
                  <a:pt x="3496" y="756"/>
                </a:lnTo>
                <a:lnTo>
                  <a:pt x="0" y="756"/>
                </a:lnTo>
                <a:lnTo>
                  <a:pt x="0" y="284"/>
                </a:lnTo>
                <a:lnTo>
                  <a:pt x="567" y="284"/>
                </a:lnTo>
                <a:lnTo>
                  <a:pt x="567" y="0"/>
                </a:lnTo>
                <a:lnTo>
                  <a:pt x="850" y="0"/>
                </a:lnTo>
                <a:lnTo>
                  <a:pt x="850" y="284"/>
                </a:lnTo>
                <a:lnTo>
                  <a:pt x="2646" y="284"/>
                </a:lnTo>
                <a:lnTo>
                  <a:pt x="2646" y="0"/>
                </a:lnTo>
                <a:lnTo>
                  <a:pt x="2929" y="0"/>
                </a:lnTo>
                <a:lnTo>
                  <a:pt x="2929" y="284"/>
                </a:lnTo>
                <a:lnTo>
                  <a:pt x="3496" y="284"/>
                </a:lnTo>
                <a:close/>
                <a:moveTo>
                  <a:pt x="0" y="945"/>
                </a:moveTo>
                <a:lnTo>
                  <a:pt x="3496" y="945"/>
                </a:lnTo>
                <a:lnTo>
                  <a:pt x="3496" y="3118"/>
                </a:lnTo>
                <a:lnTo>
                  <a:pt x="0" y="3118"/>
                </a:lnTo>
                <a:lnTo>
                  <a:pt x="0" y="945"/>
                </a:lnTo>
                <a:close/>
                <a:moveTo>
                  <a:pt x="2834" y="1607"/>
                </a:moveTo>
                <a:lnTo>
                  <a:pt x="3307" y="1607"/>
                </a:lnTo>
                <a:lnTo>
                  <a:pt x="3307" y="1134"/>
                </a:lnTo>
                <a:lnTo>
                  <a:pt x="2834" y="1134"/>
                </a:lnTo>
                <a:lnTo>
                  <a:pt x="2834" y="1607"/>
                </a:lnTo>
                <a:close/>
                <a:moveTo>
                  <a:pt x="2834" y="2929"/>
                </a:moveTo>
                <a:lnTo>
                  <a:pt x="3307" y="2929"/>
                </a:lnTo>
                <a:lnTo>
                  <a:pt x="3307" y="2457"/>
                </a:lnTo>
                <a:lnTo>
                  <a:pt x="2834" y="2457"/>
                </a:lnTo>
                <a:lnTo>
                  <a:pt x="2834" y="2929"/>
                </a:lnTo>
                <a:close/>
                <a:moveTo>
                  <a:pt x="2173" y="1607"/>
                </a:moveTo>
                <a:lnTo>
                  <a:pt x="2646" y="1607"/>
                </a:lnTo>
                <a:lnTo>
                  <a:pt x="2646" y="1134"/>
                </a:lnTo>
                <a:lnTo>
                  <a:pt x="2173" y="1134"/>
                </a:lnTo>
                <a:lnTo>
                  <a:pt x="2173" y="1607"/>
                </a:lnTo>
                <a:close/>
                <a:moveTo>
                  <a:pt x="2173" y="2268"/>
                </a:moveTo>
                <a:lnTo>
                  <a:pt x="2646" y="2268"/>
                </a:lnTo>
                <a:lnTo>
                  <a:pt x="2646" y="1796"/>
                </a:lnTo>
                <a:lnTo>
                  <a:pt x="2173" y="1796"/>
                </a:lnTo>
                <a:lnTo>
                  <a:pt x="2173" y="2268"/>
                </a:lnTo>
                <a:close/>
                <a:moveTo>
                  <a:pt x="2173" y="2929"/>
                </a:moveTo>
                <a:lnTo>
                  <a:pt x="2646" y="2929"/>
                </a:lnTo>
                <a:lnTo>
                  <a:pt x="2646" y="2457"/>
                </a:lnTo>
                <a:lnTo>
                  <a:pt x="2173" y="2457"/>
                </a:lnTo>
                <a:lnTo>
                  <a:pt x="2173" y="2929"/>
                </a:lnTo>
                <a:close/>
                <a:moveTo>
                  <a:pt x="1512" y="1607"/>
                </a:moveTo>
                <a:lnTo>
                  <a:pt x="1984" y="1607"/>
                </a:lnTo>
                <a:lnTo>
                  <a:pt x="1984" y="1134"/>
                </a:lnTo>
                <a:lnTo>
                  <a:pt x="1512" y="1134"/>
                </a:lnTo>
                <a:lnTo>
                  <a:pt x="1512" y="1607"/>
                </a:lnTo>
                <a:close/>
                <a:moveTo>
                  <a:pt x="1512" y="2268"/>
                </a:moveTo>
                <a:lnTo>
                  <a:pt x="1984" y="2268"/>
                </a:lnTo>
                <a:lnTo>
                  <a:pt x="1984" y="1796"/>
                </a:lnTo>
                <a:lnTo>
                  <a:pt x="1512" y="1796"/>
                </a:lnTo>
                <a:lnTo>
                  <a:pt x="1512" y="2268"/>
                </a:lnTo>
                <a:close/>
                <a:moveTo>
                  <a:pt x="850" y="1607"/>
                </a:moveTo>
                <a:lnTo>
                  <a:pt x="1323" y="1607"/>
                </a:lnTo>
                <a:lnTo>
                  <a:pt x="1323" y="1134"/>
                </a:lnTo>
                <a:lnTo>
                  <a:pt x="850" y="1134"/>
                </a:lnTo>
                <a:lnTo>
                  <a:pt x="850" y="1607"/>
                </a:lnTo>
                <a:close/>
                <a:moveTo>
                  <a:pt x="850" y="2268"/>
                </a:moveTo>
                <a:lnTo>
                  <a:pt x="1323" y="2268"/>
                </a:lnTo>
                <a:lnTo>
                  <a:pt x="1323" y="1796"/>
                </a:lnTo>
                <a:lnTo>
                  <a:pt x="850" y="1796"/>
                </a:lnTo>
                <a:lnTo>
                  <a:pt x="850" y="2268"/>
                </a:lnTo>
                <a:close/>
                <a:moveTo>
                  <a:pt x="850" y="2929"/>
                </a:moveTo>
                <a:lnTo>
                  <a:pt x="1323" y="2929"/>
                </a:lnTo>
                <a:lnTo>
                  <a:pt x="1323" y="2457"/>
                </a:lnTo>
                <a:lnTo>
                  <a:pt x="850" y="2457"/>
                </a:lnTo>
                <a:lnTo>
                  <a:pt x="850" y="2929"/>
                </a:lnTo>
                <a:close/>
                <a:moveTo>
                  <a:pt x="189" y="2268"/>
                </a:moveTo>
                <a:lnTo>
                  <a:pt x="661" y="2268"/>
                </a:lnTo>
                <a:lnTo>
                  <a:pt x="661" y="1796"/>
                </a:lnTo>
                <a:lnTo>
                  <a:pt x="189" y="1796"/>
                </a:lnTo>
                <a:lnTo>
                  <a:pt x="189" y="2268"/>
                </a:lnTo>
                <a:close/>
                <a:moveTo>
                  <a:pt x="189" y="2929"/>
                </a:moveTo>
                <a:lnTo>
                  <a:pt x="661" y="2929"/>
                </a:lnTo>
                <a:lnTo>
                  <a:pt x="661" y="2457"/>
                </a:lnTo>
                <a:lnTo>
                  <a:pt x="189" y="2457"/>
                </a:lnTo>
                <a:lnTo>
                  <a:pt x="189" y="292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A5E1E1"/>
              </a:solidFill>
              <a:latin typeface="Arial"/>
            </a:endParaRPr>
          </a:p>
        </p:txBody>
      </p:sp>
      <p:sp>
        <p:nvSpPr>
          <p:cNvPr id="73" name="Freeform 6"/>
          <p:cNvSpPr>
            <a:spLocks noChangeAspect="1" noEditPoints="1"/>
          </p:cNvSpPr>
          <p:nvPr/>
        </p:nvSpPr>
        <p:spPr bwMode="auto">
          <a:xfrm>
            <a:off x="2408423" y="1750766"/>
            <a:ext cx="404070" cy="404332"/>
          </a:xfrm>
          <a:custGeom>
            <a:avLst/>
            <a:gdLst>
              <a:gd name="T0" fmla="*/ 1228 w 3212"/>
              <a:gd name="T1" fmla="*/ 1229 h 3213"/>
              <a:gd name="T2" fmla="*/ 1984 w 3212"/>
              <a:gd name="T3" fmla="*/ 1229 h 3213"/>
              <a:gd name="T4" fmla="*/ 1984 w 3212"/>
              <a:gd name="T5" fmla="*/ 1985 h 3213"/>
              <a:gd name="T6" fmla="*/ 1228 w 3212"/>
              <a:gd name="T7" fmla="*/ 1985 h 3213"/>
              <a:gd name="T8" fmla="*/ 1228 w 3212"/>
              <a:gd name="T9" fmla="*/ 1229 h 3213"/>
              <a:gd name="T10" fmla="*/ 1714 w 3212"/>
              <a:gd name="T11" fmla="*/ 2817 h 3213"/>
              <a:gd name="T12" fmla="*/ 1697 w 3212"/>
              <a:gd name="T13" fmla="*/ 2174 h 3213"/>
              <a:gd name="T14" fmla="*/ 1515 w 3212"/>
              <a:gd name="T15" fmla="*/ 2174 h 3213"/>
              <a:gd name="T16" fmla="*/ 1498 w 3212"/>
              <a:gd name="T17" fmla="*/ 2817 h 3213"/>
              <a:gd name="T18" fmla="*/ 1208 w 3212"/>
              <a:gd name="T19" fmla="*/ 2565 h 3213"/>
              <a:gd name="T20" fmla="*/ 1083 w 3212"/>
              <a:gd name="T21" fmla="*/ 2690 h 3213"/>
              <a:gd name="T22" fmla="*/ 1606 w 3212"/>
              <a:gd name="T23" fmla="*/ 3213 h 3213"/>
              <a:gd name="T24" fmla="*/ 2129 w 3212"/>
              <a:gd name="T25" fmla="*/ 2690 h 3213"/>
              <a:gd name="T26" fmla="*/ 2003 w 3212"/>
              <a:gd name="T27" fmla="*/ 2565 h 3213"/>
              <a:gd name="T28" fmla="*/ 1714 w 3212"/>
              <a:gd name="T29" fmla="*/ 2817 h 3213"/>
              <a:gd name="T30" fmla="*/ 1498 w 3212"/>
              <a:gd name="T31" fmla="*/ 396 h 3213"/>
              <a:gd name="T32" fmla="*/ 1515 w 3212"/>
              <a:gd name="T33" fmla="*/ 1040 h 3213"/>
              <a:gd name="T34" fmla="*/ 1697 w 3212"/>
              <a:gd name="T35" fmla="*/ 1040 h 3213"/>
              <a:gd name="T36" fmla="*/ 1714 w 3212"/>
              <a:gd name="T37" fmla="*/ 396 h 3213"/>
              <a:gd name="T38" fmla="*/ 2003 w 3212"/>
              <a:gd name="T39" fmla="*/ 648 h 3213"/>
              <a:gd name="T40" fmla="*/ 2129 w 3212"/>
              <a:gd name="T41" fmla="*/ 523 h 3213"/>
              <a:gd name="T42" fmla="*/ 1606 w 3212"/>
              <a:gd name="T43" fmla="*/ 0 h 3213"/>
              <a:gd name="T44" fmla="*/ 1083 w 3212"/>
              <a:gd name="T45" fmla="*/ 523 h 3213"/>
              <a:gd name="T46" fmla="*/ 1208 w 3212"/>
              <a:gd name="T47" fmla="*/ 648 h 3213"/>
              <a:gd name="T48" fmla="*/ 1498 w 3212"/>
              <a:gd name="T49" fmla="*/ 396 h 3213"/>
              <a:gd name="T50" fmla="*/ 2689 w 3212"/>
              <a:gd name="T51" fmla="*/ 1084 h 3213"/>
              <a:gd name="T52" fmla="*/ 2564 w 3212"/>
              <a:gd name="T53" fmla="*/ 1209 h 3213"/>
              <a:gd name="T54" fmla="*/ 2816 w 3212"/>
              <a:gd name="T55" fmla="*/ 1499 h 3213"/>
              <a:gd name="T56" fmla="*/ 2173 w 3212"/>
              <a:gd name="T57" fmla="*/ 1516 h 3213"/>
              <a:gd name="T58" fmla="*/ 2173 w 3212"/>
              <a:gd name="T59" fmla="*/ 1697 h 3213"/>
              <a:gd name="T60" fmla="*/ 2816 w 3212"/>
              <a:gd name="T61" fmla="*/ 1714 h 3213"/>
              <a:gd name="T62" fmla="*/ 2564 w 3212"/>
              <a:gd name="T63" fmla="*/ 2004 h 3213"/>
              <a:gd name="T64" fmla="*/ 2689 w 3212"/>
              <a:gd name="T65" fmla="*/ 2129 h 3213"/>
              <a:gd name="T66" fmla="*/ 3212 w 3212"/>
              <a:gd name="T67" fmla="*/ 1607 h 3213"/>
              <a:gd name="T68" fmla="*/ 2689 w 3212"/>
              <a:gd name="T69" fmla="*/ 1084 h 3213"/>
              <a:gd name="T70" fmla="*/ 648 w 3212"/>
              <a:gd name="T71" fmla="*/ 1209 h 3213"/>
              <a:gd name="T72" fmla="*/ 522 w 3212"/>
              <a:gd name="T73" fmla="*/ 1084 h 3213"/>
              <a:gd name="T74" fmla="*/ 0 w 3212"/>
              <a:gd name="T75" fmla="*/ 1607 h 3213"/>
              <a:gd name="T76" fmla="*/ 522 w 3212"/>
              <a:gd name="T77" fmla="*/ 2129 h 3213"/>
              <a:gd name="T78" fmla="*/ 648 w 3212"/>
              <a:gd name="T79" fmla="*/ 2004 h 3213"/>
              <a:gd name="T80" fmla="*/ 396 w 3212"/>
              <a:gd name="T81" fmla="*/ 1714 h 3213"/>
              <a:gd name="T82" fmla="*/ 1039 w 3212"/>
              <a:gd name="T83" fmla="*/ 1697 h 3213"/>
              <a:gd name="T84" fmla="*/ 1039 w 3212"/>
              <a:gd name="T85" fmla="*/ 1516 h 3213"/>
              <a:gd name="T86" fmla="*/ 396 w 3212"/>
              <a:gd name="T87" fmla="*/ 1499 h 3213"/>
              <a:gd name="T88" fmla="*/ 648 w 3212"/>
              <a:gd name="T89" fmla="*/ 1209 h 3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12" h="3213">
                <a:moveTo>
                  <a:pt x="1228" y="1229"/>
                </a:moveTo>
                <a:lnTo>
                  <a:pt x="1984" y="1229"/>
                </a:lnTo>
                <a:lnTo>
                  <a:pt x="1984" y="1985"/>
                </a:lnTo>
                <a:lnTo>
                  <a:pt x="1228" y="1985"/>
                </a:lnTo>
                <a:lnTo>
                  <a:pt x="1228" y="1229"/>
                </a:lnTo>
                <a:close/>
                <a:moveTo>
                  <a:pt x="1714" y="2817"/>
                </a:moveTo>
                <a:lnTo>
                  <a:pt x="1697" y="2174"/>
                </a:lnTo>
                <a:lnTo>
                  <a:pt x="1515" y="2174"/>
                </a:lnTo>
                <a:lnTo>
                  <a:pt x="1498" y="2817"/>
                </a:lnTo>
                <a:lnTo>
                  <a:pt x="1208" y="2565"/>
                </a:lnTo>
                <a:lnTo>
                  <a:pt x="1083" y="2690"/>
                </a:lnTo>
                <a:lnTo>
                  <a:pt x="1606" y="3213"/>
                </a:lnTo>
                <a:lnTo>
                  <a:pt x="2129" y="2690"/>
                </a:lnTo>
                <a:lnTo>
                  <a:pt x="2003" y="2565"/>
                </a:lnTo>
                <a:lnTo>
                  <a:pt x="1714" y="2817"/>
                </a:lnTo>
                <a:close/>
                <a:moveTo>
                  <a:pt x="1498" y="396"/>
                </a:moveTo>
                <a:lnTo>
                  <a:pt x="1515" y="1040"/>
                </a:lnTo>
                <a:lnTo>
                  <a:pt x="1697" y="1040"/>
                </a:lnTo>
                <a:lnTo>
                  <a:pt x="1714" y="396"/>
                </a:lnTo>
                <a:lnTo>
                  <a:pt x="2003" y="648"/>
                </a:lnTo>
                <a:lnTo>
                  <a:pt x="2129" y="523"/>
                </a:lnTo>
                <a:lnTo>
                  <a:pt x="1606" y="0"/>
                </a:lnTo>
                <a:lnTo>
                  <a:pt x="1083" y="523"/>
                </a:lnTo>
                <a:lnTo>
                  <a:pt x="1208" y="648"/>
                </a:lnTo>
                <a:lnTo>
                  <a:pt x="1498" y="396"/>
                </a:lnTo>
                <a:close/>
                <a:moveTo>
                  <a:pt x="2689" y="1084"/>
                </a:moveTo>
                <a:lnTo>
                  <a:pt x="2564" y="1209"/>
                </a:lnTo>
                <a:lnTo>
                  <a:pt x="2816" y="1499"/>
                </a:lnTo>
                <a:lnTo>
                  <a:pt x="2173" y="1516"/>
                </a:lnTo>
                <a:lnTo>
                  <a:pt x="2173" y="1697"/>
                </a:lnTo>
                <a:lnTo>
                  <a:pt x="2816" y="1714"/>
                </a:lnTo>
                <a:lnTo>
                  <a:pt x="2564" y="2004"/>
                </a:lnTo>
                <a:lnTo>
                  <a:pt x="2689" y="2129"/>
                </a:lnTo>
                <a:lnTo>
                  <a:pt x="3212" y="1607"/>
                </a:lnTo>
                <a:lnTo>
                  <a:pt x="2689" y="1084"/>
                </a:lnTo>
                <a:close/>
                <a:moveTo>
                  <a:pt x="648" y="1209"/>
                </a:moveTo>
                <a:lnTo>
                  <a:pt x="522" y="1084"/>
                </a:lnTo>
                <a:lnTo>
                  <a:pt x="0" y="1607"/>
                </a:lnTo>
                <a:lnTo>
                  <a:pt x="522" y="2129"/>
                </a:lnTo>
                <a:lnTo>
                  <a:pt x="648" y="2004"/>
                </a:lnTo>
                <a:lnTo>
                  <a:pt x="396" y="1714"/>
                </a:lnTo>
                <a:lnTo>
                  <a:pt x="1039" y="1697"/>
                </a:lnTo>
                <a:lnTo>
                  <a:pt x="1039" y="1516"/>
                </a:lnTo>
                <a:lnTo>
                  <a:pt x="396" y="1499"/>
                </a:lnTo>
                <a:lnTo>
                  <a:pt x="648" y="1209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6"/>
          <p:cNvSpPr>
            <a:spLocks noChangeAspect="1" noEditPoints="1"/>
          </p:cNvSpPr>
          <p:nvPr/>
        </p:nvSpPr>
        <p:spPr bwMode="auto">
          <a:xfrm>
            <a:off x="823980" y="2424953"/>
            <a:ext cx="340838" cy="274320"/>
          </a:xfrm>
          <a:custGeom>
            <a:avLst/>
            <a:gdLst>
              <a:gd name="T0" fmla="*/ 3496 w 3874"/>
              <a:gd name="T1" fmla="*/ 378 h 3118"/>
              <a:gd name="T2" fmla="*/ 378 w 3874"/>
              <a:gd name="T3" fmla="*/ 378 h 3118"/>
              <a:gd name="T4" fmla="*/ 378 w 3874"/>
              <a:gd name="T5" fmla="*/ 2173 h 3118"/>
              <a:gd name="T6" fmla="*/ 3496 w 3874"/>
              <a:gd name="T7" fmla="*/ 2173 h 3118"/>
              <a:gd name="T8" fmla="*/ 3496 w 3874"/>
              <a:gd name="T9" fmla="*/ 378 h 3118"/>
              <a:gd name="T10" fmla="*/ 1606 w 3874"/>
              <a:gd name="T11" fmla="*/ 1417 h 3118"/>
              <a:gd name="T12" fmla="*/ 1228 w 3874"/>
              <a:gd name="T13" fmla="*/ 1417 h 3118"/>
              <a:gd name="T14" fmla="*/ 1228 w 3874"/>
              <a:gd name="T15" fmla="*/ 1039 h 3118"/>
              <a:gd name="T16" fmla="*/ 1606 w 3874"/>
              <a:gd name="T17" fmla="*/ 1039 h 3118"/>
              <a:gd name="T18" fmla="*/ 1606 w 3874"/>
              <a:gd name="T19" fmla="*/ 1417 h 3118"/>
              <a:gd name="T20" fmla="*/ 2274 w 3874"/>
              <a:gd name="T21" fmla="*/ 1565 h 3118"/>
              <a:gd name="T22" fmla="*/ 1917 w 3874"/>
              <a:gd name="T23" fmla="*/ 1208 h 3118"/>
              <a:gd name="T24" fmla="*/ 2023 w 3874"/>
              <a:gd name="T25" fmla="*/ 1103 h 3118"/>
              <a:gd name="T26" fmla="*/ 2251 w 3874"/>
              <a:gd name="T27" fmla="*/ 1301 h 3118"/>
              <a:gd name="T28" fmla="*/ 2830 w 3874"/>
              <a:gd name="T29" fmla="*/ 797 h 3118"/>
              <a:gd name="T30" fmla="*/ 2936 w 3874"/>
              <a:gd name="T31" fmla="*/ 903 h 3118"/>
              <a:gd name="T32" fmla="*/ 2274 w 3874"/>
              <a:gd name="T33" fmla="*/ 1565 h 3118"/>
              <a:gd name="T34" fmla="*/ 3685 w 3874"/>
              <a:gd name="T35" fmla="*/ 0 h 3118"/>
              <a:gd name="T36" fmla="*/ 189 w 3874"/>
              <a:gd name="T37" fmla="*/ 0 h 3118"/>
              <a:gd name="T38" fmla="*/ 0 w 3874"/>
              <a:gd name="T39" fmla="*/ 189 h 3118"/>
              <a:gd name="T40" fmla="*/ 0 w 3874"/>
              <a:gd name="T41" fmla="*/ 2362 h 3118"/>
              <a:gd name="T42" fmla="*/ 189 w 3874"/>
              <a:gd name="T43" fmla="*/ 2551 h 3118"/>
              <a:gd name="T44" fmla="*/ 1606 w 3874"/>
              <a:gd name="T45" fmla="*/ 2551 h 3118"/>
              <a:gd name="T46" fmla="*/ 1606 w 3874"/>
              <a:gd name="T47" fmla="*/ 2929 h 3118"/>
              <a:gd name="T48" fmla="*/ 1134 w 3874"/>
              <a:gd name="T49" fmla="*/ 2929 h 3118"/>
              <a:gd name="T50" fmla="*/ 1134 w 3874"/>
              <a:gd name="T51" fmla="*/ 3118 h 3118"/>
              <a:gd name="T52" fmla="*/ 2740 w 3874"/>
              <a:gd name="T53" fmla="*/ 3118 h 3118"/>
              <a:gd name="T54" fmla="*/ 2740 w 3874"/>
              <a:gd name="T55" fmla="*/ 2929 h 3118"/>
              <a:gd name="T56" fmla="*/ 2268 w 3874"/>
              <a:gd name="T57" fmla="*/ 2929 h 3118"/>
              <a:gd name="T58" fmla="*/ 2268 w 3874"/>
              <a:gd name="T59" fmla="*/ 2551 h 3118"/>
              <a:gd name="T60" fmla="*/ 3685 w 3874"/>
              <a:gd name="T61" fmla="*/ 2551 h 3118"/>
              <a:gd name="T62" fmla="*/ 3874 w 3874"/>
              <a:gd name="T63" fmla="*/ 2362 h 3118"/>
              <a:gd name="T64" fmla="*/ 3874 w 3874"/>
              <a:gd name="T65" fmla="*/ 189 h 3118"/>
              <a:gd name="T66" fmla="*/ 3685 w 3874"/>
              <a:gd name="T67" fmla="*/ 0 h 3118"/>
              <a:gd name="T68" fmla="*/ 3685 w 3874"/>
              <a:gd name="T69" fmla="*/ 2362 h 3118"/>
              <a:gd name="T70" fmla="*/ 189 w 3874"/>
              <a:gd name="T71" fmla="*/ 2362 h 3118"/>
              <a:gd name="T72" fmla="*/ 189 w 3874"/>
              <a:gd name="T73" fmla="*/ 189 h 3118"/>
              <a:gd name="T74" fmla="*/ 3685 w 3874"/>
              <a:gd name="T75" fmla="*/ 189 h 3118"/>
              <a:gd name="T76" fmla="*/ 3685 w 3874"/>
              <a:gd name="T77" fmla="*/ 2362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874" h="3118">
                <a:moveTo>
                  <a:pt x="3496" y="378"/>
                </a:moveTo>
                <a:lnTo>
                  <a:pt x="378" y="378"/>
                </a:lnTo>
                <a:lnTo>
                  <a:pt x="378" y="2173"/>
                </a:lnTo>
                <a:lnTo>
                  <a:pt x="3496" y="2173"/>
                </a:lnTo>
                <a:lnTo>
                  <a:pt x="3496" y="378"/>
                </a:lnTo>
                <a:close/>
                <a:moveTo>
                  <a:pt x="1606" y="1417"/>
                </a:moveTo>
                <a:lnTo>
                  <a:pt x="1228" y="1417"/>
                </a:lnTo>
                <a:lnTo>
                  <a:pt x="1228" y="1039"/>
                </a:lnTo>
                <a:lnTo>
                  <a:pt x="1606" y="1039"/>
                </a:lnTo>
                <a:lnTo>
                  <a:pt x="1606" y="1417"/>
                </a:lnTo>
                <a:close/>
                <a:moveTo>
                  <a:pt x="2274" y="1565"/>
                </a:moveTo>
                <a:lnTo>
                  <a:pt x="1917" y="1208"/>
                </a:lnTo>
                <a:lnTo>
                  <a:pt x="2023" y="1103"/>
                </a:lnTo>
                <a:lnTo>
                  <a:pt x="2251" y="1301"/>
                </a:lnTo>
                <a:lnTo>
                  <a:pt x="2830" y="797"/>
                </a:lnTo>
                <a:lnTo>
                  <a:pt x="2936" y="903"/>
                </a:lnTo>
                <a:lnTo>
                  <a:pt x="2274" y="1565"/>
                </a:lnTo>
                <a:close/>
                <a:moveTo>
                  <a:pt x="3685" y="0"/>
                </a:moveTo>
                <a:lnTo>
                  <a:pt x="189" y="0"/>
                </a:lnTo>
                <a:cubicBezTo>
                  <a:pt x="85" y="0"/>
                  <a:pt x="0" y="85"/>
                  <a:pt x="0" y="189"/>
                </a:cubicBezTo>
                <a:lnTo>
                  <a:pt x="0" y="2362"/>
                </a:lnTo>
                <a:cubicBezTo>
                  <a:pt x="0" y="2466"/>
                  <a:pt x="85" y="2551"/>
                  <a:pt x="189" y="2551"/>
                </a:cubicBezTo>
                <a:lnTo>
                  <a:pt x="1606" y="2551"/>
                </a:lnTo>
                <a:lnTo>
                  <a:pt x="1606" y="2929"/>
                </a:lnTo>
                <a:lnTo>
                  <a:pt x="1134" y="2929"/>
                </a:lnTo>
                <a:lnTo>
                  <a:pt x="1134" y="3118"/>
                </a:lnTo>
                <a:lnTo>
                  <a:pt x="2740" y="3118"/>
                </a:lnTo>
                <a:lnTo>
                  <a:pt x="2740" y="2929"/>
                </a:lnTo>
                <a:lnTo>
                  <a:pt x="2268" y="2929"/>
                </a:lnTo>
                <a:lnTo>
                  <a:pt x="2268" y="2551"/>
                </a:lnTo>
                <a:lnTo>
                  <a:pt x="3685" y="2551"/>
                </a:lnTo>
                <a:cubicBezTo>
                  <a:pt x="3789" y="2551"/>
                  <a:pt x="3874" y="2466"/>
                  <a:pt x="3874" y="2362"/>
                </a:cubicBezTo>
                <a:lnTo>
                  <a:pt x="3874" y="189"/>
                </a:lnTo>
                <a:cubicBezTo>
                  <a:pt x="3874" y="85"/>
                  <a:pt x="3789" y="0"/>
                  <a:pt x="3685" y="0"/>
                </a:cubicBezTo>
                <a:close/>
                <a:moveTo>
                  <a:pt x="3685" y="2362"/>
                </a:moveTo>
                <a:lnTo>
                  <a:pt x="189" y="2362"/>
                </a:lnTo>
                <a:lnTo>
                  <a:pt x="189" y="189"/>
                </a:lnTo>
                <a:lnTo>
                  <a:pt x="3685" y="189"/>
                </a:lnTo>
                <a:lnTo>
                  <a:pt x="3685" y="2362"/>
                </a:lnTo>
              </a:path>
            </a:pathLst>
          </a:custGeom>
          <a:solidFill>
            <a:srgbClr val="0F828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4" name="Grafik 73" descr="Recycling_symbo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6075" y="3983868"/>
            <a:ext cx="368601" cy="360000"/>
          </a:xfrm>
          <a:prstGeom prst="rect">
            <a:avLst/>
          </a:prstGeom>
        </p:spPr>
      </p:pic>
      <p:sp>
        <p:nvSpPr>
          <p:cNvPr id="91" name="TextBox 140"/>
          <p:cNvSpPr txBox="1"/>
          <p:nvPr/>
        </p:nvSpPr>
        <p:spPr>
          <a:xfrm>
            <a:off x="6912266" y="3258134"/>
            <a:ext cx="2650834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solidFill>
                  <a:srgbClr val="00646E"/>
                </a:solidFill>
              </a:rPr>
              <a:t>Interacting Roles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Us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Maintenance Engineer</a:t>
            </a:r>
          </a:p>
          <a:p>
            <a:pPr marL="171450" indent="-1714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200" dirty="0" smtClean="0">
                <a:solidFill>
                  <a:srgbClr val="00646E"/>
                </a:solidFill>
              </a:rPr>
              <a:t>System Integrator</a:t>
            </a:r>
          </a:p>
        </p:txBody>
      </p:sp>
    </p:spTree>
    <p:extLst>
      <p:ext uri="{BB962C8B-B14F-4D97-AF65-F5344CB8AC3E}">
        <p14:creationId xmlns:p14="http://schemas.microsoft.com/office/powerpoint/2010/main" xmlns="" val="239006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9"/>
  <p:tag name="ARTICULATE_PROJECT_OPEN" val="0"/>
  <p:tag name="EE4P_AGENDAWIZARD" val="&lt;ee4p&gt;&lt;layouts&gt;&lt;layout name=&quot;Siemens numbered agenda&quot; id=&quot;3_2&quot;&gt;&lt;standard&gt;&lt;textframe horizontalAnchor=&quot;1&quot; marginBottom=&quot;5.5&quot; marginLeft=&quot;0&quot; marginRight=&quot;0&quot; marginTop=&quot;5.5&quot; orientation=&quot;1&quot; verticalAnchor=&quot;3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2&quot; fontSize=&quot;14&quot; startTime=&quot;540&quot; timeFormatId=&quot;1&quot; startItemNo=&quot;1&quot; createSingleAgendaSlide=&quot;0&quot; createSeparatingSlides=&quot;1&quot; createBackupSlide=&quot;1&quot; fontSizeAuto=&quot;1&quot; /&gt;&lt;columns&gt;&lt;column field=&quot;itemno&quot; label=&quot;No.&quot; visible=&quot;1&quot; checked=&quot;1&quot; leftSpacing=&quot;0&quot; rightSpacing=&quot;0&quot; dock=&quot;1&quot; fixedWidth=&quot;28.0715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42.62504&quot; top=&quot;139.5&quot; width=&quot;646.25&quot; height=&quot;346&quot; /&gt;&lt;subtitle&gt;&lt;position left=&quot;42.62504&quot; top=&quot;111.25&quot; width=&quot;646.25&quot; height=&quot;16.96409&quot; /&gt;&lt;font size=&quot;14&quot; /&gt;&lt;textframe verticalAnchor=&quot;1&quot; marginBottom=&quot;0&quot; marginTop=&quot;0&quot; /&gt;&lt;paragraphformat alignment=&quot;1&quot; /&gt;&lt;/subtitle&gt;&lt;settings allowedSizingModeIds=&quot;1|2&quot; allowedFontSizes=&quot;8|9|10.5|11|12|14&quot; allowedTimeFormatIds=&quot;1|2|3&quot; slideLayout=&quot;11&quot; customLayoutName=&quot;Nur Titel&quot; customLayoutIndex=&quot;&quot; showBreak=&quot;1&quot; singleAgendaSlideSelected=&quot;0&quot; backupSlideTitle=&quot;Backup: %agendaTitle%&quot; backupSlideSubtitle=&quot;%agendaName%&quot; topMargin=&quot;0.33&quot; leftMargin=&quot;0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3.0715&quot; indent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 indent=&quot;33.0715&quot; indentType=&quot;2&quot;&gt;&lt;paragraphformat alignment=&quot;1&quot; /&gt;&lt;textframe marginLeft=&quot;6&quot; /&gt;&lt;/element&gt;&lt;element field=&quot;responsible&quot; type=&quot;autoshape&quot; autoShapeType=&quot;1&quot; indent=&quot;33.0715&quot; indentType=&quot;1&quot;&gt;&lt;paragraphformat alignment=&quot;1&quot; /&gt;&lt;/element&gt;&lt;element field=&quot;freecolumn&quot; type=&quot;autoshape&quot; autoShapeType=&quot;1&quot; indent=&quot;33.0715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3.0715*2*scale*fontScale&quot; top=&quot;0&quot; width=&quot;agendaWidth-topicLeftSpacing-itemNoWidth-33.0715*scale*fontScale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itemno&quot; type=&quot;autoshape&quot; autoShapeType=&quot;1&quot; indent=&quot;33.0715&quot; indentType=&quot;1&quot;&gt;&lt;textframe marginLeft=&quot;6&quot; marginRight=&quot;6&quot; verticalAnchor=&quot;3&quot; /&gt;&lt;paragraphformat alignment=&quot;2&quot; /&gt;&lt;fill foreColor=&quot;#BECDD7&quot; visible=&quot;1&quot; /&gt;&lt;line style=&quot;1&quot; dashStyle=&quot;1&quot; foreColor=&quot;#879BAA&quot; weight=&quot;0.75&quot; visible=&quot;1&quot; /&gt;&lt;font bold=&quot;1&quot; /&gt;&lt;/element&gt;&lt;element field=&quot;topic&quot; type=&quot;autoshape&quot; autoShapeType=&quot;1&quot; indent=&quot;33.0715&quot; indentType=&quot;2&quot;&gt;&lt;paragraphformat alignment=&quot;1&quot; /&gt;&lt;textframe marginLeft=&quot;6&quot; /&gt;&lt;/element&gt;&lt;element field=&quot;responsible&quot; type=&quot;autoshape&quot; autoShapeType=&quot;1&quot; indent=&quot;33.0715&quot; indentType=&quot;1&quot;&gt;&lt;paragraphformat alignment=&quot;1&quot; /&gt;&lt;/element&gt;&lt;element field=&quot;freecolumn&quot; type=&quot;autoshape&quot; autoShapeType=&quot;1&quot; indent=&quot;33.0715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3.0715*scale*fontScale&quot; top=&quot;0&quot; width=&quot;agendaWidth-topicLeftSpacing-itemNoWidth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&quot; subtitle=&quot;Agenda&quot; sizingModeId=&quot;1&quot; fontSize=&quot;14&quot; startTime=&quot;540&quot; timeFormatId=&quot;1&quot; startItemNo=&quot;1&quot; createSingleAgendaSlide=&quot;0&quot; createSeparatingSlides=&quot;1&quot; createBackupSlide=&quot;1&quot; layoutId=&quot;3_2&quot; fontSizeAuto=&quot;0&quot; createSections=&quot;0&quot; backupSlideId=&quot;3d4a0f2d-ad2a-4eb6-b0c5-9bf252b7169d&quot;&gt;&lt;columns&gt;&lt;column field=&quot;itemno&quot; label=&quot;No.&quot; visible=&quot;0&quot; checked=&quot;1&quot; leftSpacing=&quot;0&quot; rightSpacing=&quot;0&quot; dock=&quot;1&quot; /&gt;&lt;column field=&quot;timeslot&quot; label=&quot;Time Slot&quot; visible=&quot;1&quot; checked=&quot;1&quot; leftSpacing=&quot;0&quot; rightSpacing=&quot;6&quot; dock=&quot;1&quot; /&gt;&lt;column field=&quot;topic&quot; label=&quot;Topic&quot; leftSpacing=&quot;5&quot; rightSpacing=&quot;466.8614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items&gt;&lt;item duration=&quot;30&quot; level=&quot;1&quot; generateAgendaSlide=&quot;1&quot; showAgendaItem=&quot;1&quot; isBreak=&quot;0&quot; itemNo=&quot;1&quot; subItemNo=&quot;0&quot; topic=&quot;Topic 1&quot; agendaSlideId=&quot;fbde2688-4814-4c50-94ad-98034e3276d6&quot; /&gt;&lt;/items&gt;&lt;/agenda&gt;&lt;/contents&gt;&lt;/ee4p&gt;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Folienmaster_new 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xmlns="" name="DTU.MDT.StatusReport.pptx [Read-Only]" id="{9951EECA-E2B8-4401-BF31-F80D93629040}" vid="{16446A54-D4E7-46D2-B3B2-A6C2190C0258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4ppTags>
  <Name>One object (small)</Name>
  <PpLayout>16</PpLayout>
  <Index>11</Index>
</p4ppTag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4ppTags/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66DA0F97996E439614574053A1B276" ma:contentTypeVersion="0" ma:contentTypeDescription="Create a new document." ma:contentTypeScope="" ma:versionID="daf5f1fb8e0ac8e8dbd91cc3a1d6e41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96CD2D-4DF4-4328-800D-13A0357C73AD}">
  <ds:schemaRefs/>
</ds:datastoreItem>
</file>

<file path=customXml/itemProps2.xml><?xml version="1.0" encoding="utf-8"?>
<ds:datastoreItem xmlns:ds="http://schemas.openxmlformats.org/officeDocument/2006/customXml" ds:itemID="{5D8764C4-C855-4260-9E5D-812B524AC9A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6700A2C-3AA2-4A75-AD1B-36DB2D6F50C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72FBA73-6DBF-45DA-8282-9342320CFAB0}">
  <ds:schemaRefs/>
</ds:datastoreItem>
</file>

<file path=customXml/itemProps5.xml><?xml version="1.0" encoding="utf-8"?>
<ds:datastoreItem xmlns:ds="http://schemas.openxmlformats.org/officeDocument/2006/customXml" ds:itemID="{FA427F41-9916-47EF-9B82-07F22C458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U.MDT.StatusReport</Template>
  <TotalTime>0</TotalTime>
  <Words>821</Words>
  <Application>Microsoft Office PowerPoint</Application>
  <PresentationFormat>Benutzerdefiniert</PresentationFormat>
  <Paragraphs>204</Paragraphs>
  <Slides>17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19" baseType="lpstr">
      <vt:lpstr>Folienmaster_new design</vt:lpstr>
      <vt:lpstr>think-cell Slide</vt:lpstr>
      <vt:lpstr>Role Models and Lifecycles in IoT and their Impact on the W3C WoT Thing Description</vt:lpstr>
      <vt:lpstr>What is the WoT and TD? Introduction to the W3C Web of Things and the Thing Description</vt:lpstr>
      <vt:lpstr>What‘s missing in the current draft of the TD? What happens when the TD changes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Lifecycle of a Thing Phases in life of a Thing and who interacts with it?</vt:lpstr>
      <vt:lpstr>How to track changes in the Thing Description? Who should be able to track the changes?</vt:lpstr>
      <vt:lpstr>Summary of Lifecycle phases Which roles are important an how to group them?</vt:lpstr>
      <vt:lpstr>The versioned Thing Description How to express the version information in the Thing Description?</vt:lpstr>
      <vt:lpstr>The versioned Thing Description Our proposal for a versioned Thing Description</vt:lpstr>
      <vt:lpstr>Outlook What is still missing?</vt:lpstr>
      <vt:lpstr>Thank you for your attention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le Models and Lifecycles in IoT and their Impact on the W3C WoT Thing Description</dc:title>
  <dc:creator>Blank, Michele (CT RDA NEC WOS-DE)</dc:creator>
  <cp:lastModifiedBy>Michele Blank</cp:lastModifiedBy>
  <cp:revision>559</cp:revision>
  <cp:lastPrinted>2017-09-21T11:25:46Z</cp:lastPrinted>
  <dcterms:created xsi:type="dcterms:W3CDTF">2017-04-06T01:17:24Z</dcterms:created>
  <dcterms:modified xsi:type="dcterms:W3CDTF">2018-10-15T03:34:0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9" name="_AdHocReviewCycleID">
    <vt:i4>-1138235576</vt:i4>
  </property>
  <property fmtid="{D5CDD505-2E9C-101B-9397-08002B2CF9AE}" pid="10" name="_EmailSubject">
    <vt:lpwstr>Presentation TD versioning at SIS 2018</vt:lpwstr>
  </property>
  <property fmtid="{D5CDD505-2E9C-101B-9397-08002B2CF9AE}" pid="11" name="_AuthorEmail">
    <vt:lpwstr>michele.blank@siemens.com</vt:lpwstr>
  </property>
  <property fmtid="{D5CDD505-2E9C-101B-9397-08002B2CF9AE}" pid="12" name="_AuthorEmailDisplayName">
    <vt:lpwstr>Blank, Michele (CT RDA IOT EWT-DE)</vt:lpwstr>
  </property>
  <property fmtid="{D5CDD505-2E9C-101B-9397-08002B2CF9AE}" pid="13" name="ContentTypeId">
    <vt:lpwstr>0x0101002C66DA0F97996E439614574053A1B276</vt:lpwstr>
  </property>
  <property fmtid="{D5CDD505-2E9C-101B-9397-08002B2CF9AE}" pid="14" name="_PreviousAdHocReviewCycleID">
    <vt:i4>1316461625</vt:i4>
  </property>
</Properties>
</file>